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8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9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0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1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2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5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6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7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8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9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20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21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22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23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24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25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26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27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28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29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30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1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32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33.xml" ContentType="application/vnd.openxmlformats-officedocument.them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34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5.xml" ContentType="application/vnd.openxmlformats-officedocument.theme+xml"/>
  <Override PartName="/ppt/theme/theme36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2.xml" ContentType="application/vnd.openxmlformats-officedocument.presentationml.notesSl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charts/chart1.xml" ContentType="application/vnd.openxmlformats-officedocument.drawingml.chart+xml"/>
  <Override PartName="/ppt/tags/tag2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5" r:id="rId3"/>
    <p:sldMasterId id="2147483767" r:id="rId4"/>
    <p:sldMasterId id="2147484157" r:id="rId5"/>
    <p:sldMasterId id="2147484677" r:id="rId6"/>
    <p:sldMasterId id="2147484767" r:id="rId7"/>
    <p:sldMasterId id="2147485277" r:id="rId8"/>
    <p:sldMasterId id="2147485527" r:id="rId9"/>
    <p:sldMasterId id="2147485817" r:id="rId10"/>
    <p:sldMasterId id="2147486067" r:id="rId11"/>
    <p:sldMasterId id="2147486347" r:id="rId12"/>
    <p:sldMasterId id="2147486357" r:id="rId13"/>
    <p:sldMasterId id="2147487027" r:id="rId14"/>
    <p:sldMasterId id="2147487037" r:id="rId15"/>
    <p:sldMasterId id="2147487707" r:id="rId16"/>
    <p:sldMasterId id="2147488502" r:id="rId17"/>
    <p:sldMasterId id="2147490182" r:id="rId18"/>
    <p:sldMasterId id="2147490192" r:id="rId19"/>
    <p:sldMasterId id="2147490763" r:id="rId20"/>
    <p:sldMasterId id="2147490773" r:id="rId21"/>
    <p:sldMasterId id="2147491197" r:id="rId22"/>
    <p:sldMasterId id="2147491207" r:id="rId23"/>
    <p:sldMasterId id="2147493714" r:id="rId24"/>
    <p:sldMasterId id="2147496331" r:id="rId25"/>
    <p:sldMasterId id="2147496340" r:id="rId26"/>
    <p:sldMasterId id="2147496617" r:id="rId27"/>
    <p:sldMasterId id="2147499466" r:id="rId28"/>
    <p:sldMasterId id="2147499477" r:id="rId29"/>
    <p:sldMasterId id="2147499482" r:id="rId30"/>
    <p:sldMasterId id="2147499487" r:id="rId31"/>
    <p:sldMasterId id="2147499504" r:id="rId32"/>
    <p:sldMasterId id="2147499515" r:id="rId33"/>
    <p:sldMasterId id="2147499523" r:id="rId34"/>
    <p:sldMasterId id="2147499534" r:id="rId35"/>
    <p:sldMasterId id="2147499933" r:id="rId36"/>
  </p:sldMasterIdLst>
  <p:notesMasterIdLst>
    <p:notesMasterId r:id="rId49"/>
  </p:notesMasterIdLst>
  <p:handoutMasterIdLst>
    <p:handoutMasterId r:id="rId50"/>
  </p:handoutMasterIdLst>
  <p:sldIdLst>
    <p:sldId id="426" r:id="rId37"/>
    <p:sldId id="451" r:id="rId38"/>
    <p:sldId id="452" r:id="rId39"/>
    <p:sldId id="453" r:id="rId40"/>
    <p:sldId id="459" r:id="rId41"/>
    <p:sldId id="455" r:id="rId42"/>
    <p:sldId id="460" r:id="rId43"/>
    <p:sldId id="457" r:id="rId44"/>
    <p:sldId id="442" r:id="rId45"/>
    <p:sldId id="441" r:id="rId46"/>
    <p:sldId id="461" r:id="rId47"/>
    <p:sldId id="436" r:id="rId48"/>
  </p:sldIdLst>
  <p:sldSz cx="9144000" cy="5143500" type="screen16x9"/>
  <p:notesSz cx="6724650" cy="9774238"/>
  <p:custDataLst>
    <p:tags r:id="rId51"/>
  </p:custDataLst>
  <p:defaultTextStyle>
    <a:defPPr>
      <a:defRPr lang="en-GB"/>
    </a:defPPr>
    <a:lvl1pPr algn="l" defTabSz="712788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1pPr>
    <a:lvl2pPr marL="355600" indent="101600" algn="l" defTabSz="712788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2pPr>
    <a:lvl3pPr marL="712788" indent="201613" algn="l" defTabSz="712788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3pPr>
    <a:lvl4pPr marL="1068388" indent="303213" algn="l" defTabSz="712788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4pPr>
    <a:lvl5pPr marL="1425575" indent="403225" algn="l" defTabSz="712788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6">
          <p15:clr>
            <a:srgbClr val="A4A3A4"/>
          </p15:clr>
        </p15:guide>
        <p15:guide id="2" orient="horz" pos="2436">
          <p15:clr>
            <a:srgbClr val="A4A3A4"/>
          </p15:clr>
        </p15:guide>
        <p15:guide id="3" orient="horz" pos="985">
          <p15:clr>
            <a:srgbClr val="A4A3A4"/>
          </p15:clr>
        </p15:guide>
        <p15:guide id="4" orient="horz" pos="1212">
          <p15:clr>
            <a:srgbClr val="A4A3A4"/>
          </p15:clr>
        </p15:guide>
        <p15:guide id="5" orient="horz" pos="2300">
          <p15:clr>
            <a:srgbClr val="A4A3A4"/>
          </p15:clr>
        </p15:guide>
        <p15:guide id="6" orient="horz" pos="1801">
          <p15:clr>
            <a:srgbClr val="A4A3A4"/>
          </p15:clr>
        </p15:guide>
        <p15:guide id="7" orient="horz" pos="1935">
          <p15:clr>
            <a:srgbClr val="A4A3A4"/>
          </p15:clr>
        </p15:guide>
        <p15:guide id="8" orient="horz" pos="145">
          <p15:clr>
            <a:srgbClr val="A4A3A4"/>
          </p15:clr>
        </p15:guide>
        <p15:guide id="9" pos="5253">
          <p15:clr>
            <a:srgbClr val="A4A3A4"/>
          </p15:clr>
        </p15:guide>
        <p15:guide id="10" pos="158">
          <p15:clr>
            <a:srgbClr val="A4A3A4"/>
          </p15:clr>
        </p15:guide>
        <p15:guide id="11" pos="2472">
          <p15:clr>
            <a:srgbClr val="A4A3A4"/>
          </p15:clr>
        </p15:guide>
        <p15:guide id="12" pos="2985">
          <p15:clr>
            <a:srgbClr val="A4A3A4"/>
          </p15:clr>
        </p15:guide>
        <p15:guide id="13" pos="3863">
          <p15:clr>
            <a:srgbClr val="A4A3A4"/>
          </p15:clr>
        </p15:guide>
        <p15:guide id="14" pos="4100">
          <p15:clr>
            <a:srgbClr val="A4A3A4"/>
          </p15:clr>
        </p15:guide>
        <p15:guide id="15" pos="1877">
          <p15:clr>
            <a:srgbClr val="A4A3A4"/>
          </p15:clr>
        </p15:guide>
        <p15:guide id="16" pos="16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9">
          <p15:clr>
            <a:srgbClr val="A4A3A4"/>
          </p15:clr>
        </p15:guide>
        <p15:guide id="2" pos="211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AF66"/>
    <a:srgbClr val="50BE87"/>
    <a:srgbClr val="4BB4E6"/>
    <a:srgbClr val="FF7900"/>
    <a:srgbClr val="969696"/>
    <a:srgbClr val="FFB4E6"/>
    <a:srgbClr val="FF6600"/>
    <a:srgbClr val="8E90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20722" autoAdjust="0"/>
    <p:restoredTop sz="74506" autoAdjust="0"/>
  </p:normalViewPr>
  <p:slideViewPr>
    <p:cSldViewPr>
      <p:cViewPr varScale="1">
        <p:scale>
          <a:sx n="73" d="100"/>
          <a:sy n="73" d="100"/>
        </p:scale>
        <p:origin x="1812" y="66"/>
      </p:cViewPr>
      <p:guideLst>
        <p:guide orient="horz" pos="3026"/>
        <p:guide orient="horz" pos="2436"/>
        <p:guide orient="horz" pos="985"/>
        <p:guide orient="horz" pos="1212"/>
        <p:guide orient="horz" pos="2300"/>
        <p:guide orient="horz" pos="1801"/>
        <p:guide orient="horz" pos="1935"/>
        <p:guide orient="horz" pos="145"/>
        <p:guide pos="5253"/>
        <p:guide pos="158"/>
        <p:guide pos="2472"/>
        <p:guide pos="2985"/>
        <p:guide pos="3863"/>
        <p:guide pos="4100"/>
        <p:guide pos="1877"/>
        <p:guide pos="16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766" y="-90"/>
      </p:cViewPr>
      <p:guideLst>
        <p:guide orient="horz" pos="3079"/>
        <p:guide pos="211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1.xml"/><Relationship Id="rId18" Type="http://schemas.openxmlformats.org/officeDocument/2006/relationships/slideMaster" Target="slideMasters/slideMaster16.xml"/><Relationship Id="rId26" Type="http://schemas.openxmlformats.org/officeDocument/2006/relationships/slideMaster" Target="slideMasters/slideMaster24.xml"/><Relationship Id="rId39" Type="http://schemas.openxmlformats.org/officeDocument/2006/relationships/slide" Target="slides/slide3.xml"/><Relationship Id="rId21" Type="http://schemas.openxmlformats.org/officeDocument/2006/relationships/slideMaster" Target="slideMasters/slideMaster19.xml"/><Relationship Id="rId34" Type="http://schemas.openxmlformats.org/officeDocument/2006/relationships/slideMaster" Target="slideMasters/slideMaster32.xml"/><Relationship Id="rId42" Type="http://schemas.openxmlformats.org/officeDocument/2006/relationships/slide" Target="slides/slide6.xml"/><Relationship Id="rId47" Type="http://schemas.openxmlformats.org/officeDocument/2006/relationships/slide" Target="slides/slide11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5.xml"/><Relationship Id="rId12" Type="http://schemas.openxmlformats.org/officeDocument/2006/relationships/slideMaster" Target="slideMasters/slideMaster10.xml"/><Relationship Id="rId17" Type="http://schemas.openxmlformats.org/officeDocument/2006/relationships/slideMaster" Target="slideMasters/slideMaster15.xml"/><Relationship Id="rId25" Type="http://schemas.openxmlformats.org/officeDocument/2006/relationships/slideMaster" Target="slideMasters/slideMaster23.xml"/><Relationship Id="rId33" Type="http://schemas.openxmlformats.org/officeDocument/2006/relationships/slideMaster" Target="slideMasters/slideMaster31.xml"/><Relationship Id="rId38" Type="http://schemas.openxmlformats.org/officeDocument/2006/relationships/slide" Target="slides/slide2.xml"/><Relationship Id="rId46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4.xml"/><Relationship Id="rId20" Type="http://schemas.openxmlformats.org/officeDocument/2006/relationships/slideMaster" Target="slideMasters/slideMaster18.xml"/><Relationship Id="rId29" Type="http://schemas.openxmlformats.org/officeDocument/2006/relationships/slideMaster" Target="slideMasters/slideMaster27.xml"/><Relationship Id="rId41" Type="http://schemas.openxmlformats.org/officeDocument/2006/relationships/slide" Target="slides/slide5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Master" Target="slideMasters/slideMaster9.xml"/><Relationship Id="rId24" Type="http://schemas.openxmlformats.org/officeDocument/2006/relationships/slideMaster" Target="slideMasters/slideMaster22.xml"/><Relationship Id="rId32" Type="http://schemas.openxmlformats.org/officeDocument/2006/relationships/slideMaster" Target="slideMasters/slideMaster30.xml"/><Relationship Id="rId37" Type="http://schemas.openxmlformats.org/officeDocument/2006/relationships/slide" Target="slides/slide1.xml"/><Relationship Id="rId40" Type="http://schemas.openxmlformats.org/officeDocument/2006/relationships/slide" Target="slides/slide4.xml"/><Relationship Id="rId45" Type="http://schemas.openxmlformats.org/officeDocument/2006/relationships/slide" Target="slides/slide9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3.xml"/><Relationship Id="rId15" Type="http://schemas.openxmlformats.org/officeDocument/2006/relationships/slideMaster" Target="slideMasters/slideMaster13.xml"/><Relationship Id="rId23" Type="http://schemas.openxmlformats.org/officeDocument/2006/relationships/slideMaster" Target="slideMasters/slideMaster21.xml"/><Relationship Id="rId28" Type="http://schemas.openxmlformats.org/officeDocument/2006/relationships/slideMaster" Target="slideMasters/slideMaster26.xml"/><Relationship Id="rId36" Type="http://schemas.openxmlformats.org/officeDocument/2006/relationships/slideMaster" Target="slideMasters/slideMaster34.xml"/><Relationship Id="rId49" Type="http://schemas.openxmlformats.org/officeDocument/2006/relationships/notesMaster" Target="notesMasters/notesMaster1.xml"/><Relationship Id="rId10" Type="http://schemas.openxmlformats.org/officeDocument/2006/relationships/slideMaster" Target="slideMasters/slideMaster8.xml"/><Relationship Id="rId19" Type="http://schemas.openxmlformats.org/officeDocument/2006/relationships/slideMaster" Target="slideMasters/slideMaster17.xml"/><Relationship Id="rId31" Type="http://schemas.openxmlformats.org/officeDocument/2006/relationships/slideMaster" Target="slideMasters/slideMaster29.xml"/><Relationship Id="rId44" Type="http://schemas.openxmlformats.org/officeDocument/2006/relationships/slide" Target="slides/slide8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Master" Target="slideMasters/slideMaster12.xml"/><Relationship Id="rId22" Type="http://schemas.openxmlformats.org/officeDocument/2006/relationships/slideMaster" Target="slideMasters/slideMaster20.xml"/><Relationship Id="rId27" Type="http://schemas.openxmlformats.org/officeDocument/2006/relationships/slideMaster" Target="slideMasters/slideMaster25.xml"/><Relationship Id="rId30" Type="http://schemas.openxmlformats.org/officeDocument/2006/relationships/slideMaster" Target="slideMasters/slideMaster28.xml"/><Relationship Id="rId35" Type="http://schemas.openxmlformats.org/officeDocument/2006/relationships/slideMaster" Target="slideMasters/slideMaster33.xml"/><Relationship Id="rId43" Type="http://schemas.openxmlformats.org/officeDocument/2006/relationships/slide" Target="slides/slide7.xml"/><Relationship Id="rId48" Type="http://schemas.openxmlformats.org/officeDocument/2006/relationships/slide" Target="slides/slide12.xml"/><Relationship Id="rId8" Type="http://schemas.openxmlformats.org/officeDocument/2006/relationships/slideMaster" Target="slideMasters/slideMaster6.xml"/><Relationship Id="rId51" Type="http://schemas.openxmlformats.org/officeDocument/2006/relationships/tags" Target="tags/tag1.xml"/><Relationship Id="rId3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722348729102749"/>
          <c:y val="0.1402764868118305"/>
          <c:w val="0.60093598819789418"/>
          <c:h val="0.73804912612187057"/>
        </c:manualLayout>
      </c:layout>
      <c:areaChart>
        <c:grouping val="stacked"/>
        <c:varyColors val="0"/>
        <c:ser>
          <c:idx val="3"/>
          <c:order val="0"/>
          <c:tx>
            <c:strRef>
              <c:f>Sheet1!$C$2</c:f>
              <c:strCache>
                <c:ptCount val="1"/>
                <c:pt idx="0">
                  <c:v>Cellular</c:v>
                </c:pt>
              </c:strCache>
            </c:strRef>
          </c:tx>
          <c:spPr>
            <a:solidFill>
              <a:srgbClr val="4BB4E6"/>
            </a:solidFill>
            <a:ln>
              <a:solidFill>
                <a:srgbClr val="4BB4E6"/>
              </a:solidFill>
            </a:ln>
          </c:spPr>
          <c:cat>
            <c:numRef>
              <c:f>Sheet1!$D$1:$K$1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cat>
          <c:val>
            <c:numRef>
              <c:f>Sheet1!$D$2:$K$2</c:f>
              <c:numCache>
                <c:formatCode>General</c:formatCode>
                <c:ptCount val="8"/>
                <c:pt idx="0">
                  <c:v>9298.5254012958976</c:v>
                </c:pt>
                <c:pt idx="1">
                  <c:v>12447.392128317711</c:v>
                </c:pt>
                <c:pt idx="2">
                  <c:v>15794.147583319971</c:v>
                </c:pt>
                <c:pt idx="3">
                  <c:v>19359.542228730981</c:v>
                </c:pt>
                <c:pt idx="4">
                  <c:v>23675.651935357091</c:v>
                </c:pt>
                <c:pt idx="5">
                  <c:v>29063.647763919467</c:v>
                </c:pt>
                <c:pt idx="6">
                  <c:v>36649.65373399893</c:v>
                </c:pt>
                <c:pt idx="7">
                  <c:v>45947.471582682934</c:v>
                </c:pt>
              </c:numCache>
            </c:numRef>
          </c:val>
        </c:ser>
        <c:ser>
          <c:idx val="6"/>
          <c:order val="1"/>
          <c:tx>
            <c:strRef>
              <c:f>Sheet1!$C$3</c:f>
              <c:strCache>
                <c:ptCount val="1"/>
                <c:pt idx="0">
                  <c:v>Wi-Fi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</c:spPr>
          <c:cat>
            <c:numRef>
              <c:f>Sheet1!$D$1:$K$1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cat>
          <c:val>
            <c:numRef>
              <c:f>Sheet1!$D$3:$K$3</c:f>
              <c:numCache>
                <c:formatCode>General</c:formatCode>
                <c:ptCount val="8"/>
                <c:pt idx="0">
                  <c:v>28850.162321969496</c:v>
                </c:pt>
                <c:pt idx="1">
                  <c:v>40132.316616136995</c:v>
                </c:pt>
                <c:pt idx="2">
                  <c:v>54825.952258909019</c:v>
                </c:pt>
                <c:pt idx="3">
                  <c:v>73657.172720277536</c:v>
                </c:pt>
                <c:pt idx="4">
                  <c:v>98049.317276851303</c:v>
                </c:pt>
                <c:pt idx="5">
                  <c:v>128880.40545631759</c:v>
                </c:pt>
                <c:pt idx="6">
                  <c:v>167633.37558890949</c:v>
                </c:pt>
                <c:pt idx="7">
                  <c:v>217596.14115890779</c:v>
                </c:pt>
              </c:numCache>
            </c:numRef>
          </c:val>
        </c:ser>
        <c:ser>
          <c:idx val="4"/>
          <c:order val="2"/>
          <c:tx>
            <c:strRef>
              <c:f>Sheet1!$C$4</c:f>
              <c:strCache>
                <c:ptCount val="1"/>
                <c:pt idx="0">
                  <c:v>Fixed broadband</c:v>
                </c:pt>
              </c:strCache>
            </c:strRef>
          </c:tx>
          <c:cat>
            <c:numRef>
              <c:f>Sheet1!$D$1:$K$1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cat>
          <c:val>
            <c:numRef>
              <c:f>Sheet1!$D$4:$K$4</c:f>
              <c:numCache>
                <c:formatCode>General</c:formatCode>
                <c:ptCount val="8"/>
                <c:pt idx="0">
                  <c:v>13105.375383640552</c:v>
                </c:pt>
                <c:pt idx="1">
                  <c:v>16828.06222728936</c:v>
                </c:pt>
                <c:pt idx="2">
                  <c:v>21337.05069582037</c:v>
                </c:pt>
                <c:pt idx="3">
                  <c:v>26578.100342685291</c:v>
                </c:pt>
                <c:pt idx="4">
                  <c:v>32521.189788947526</c:v>
                </c:pt>
                <c:pt idx="5">
                  <c:v>39500.834136399688</c:v>
                </c:pt>
                <c:pt idx="6">
                  <c:v>47702.750537784865</c:v>
                </c:pt>
                <c:pt idx="7">
                  <c:v>57474.6246478611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5661328"/>
        <c:axId val="565664856"/>
      </c:areaChart>
      <c:catAx>
        <c:axId val="565661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565664856"/>
        <c:crosses val="autoZero"/>
        <c:auto val="1"/>
        <c:lblAlgn val="ctr"/>
        <c:lblOffset val="100"/>
        <c:noMultiLvlLbl val="0"/>
      </c:catAx>
      <c:valAx>
        <c:axId val="5656648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565661328"/>
        <c:crosses val="autoZero"/>
        <c:crossBetween val="midCat"/>
      </c:valAx>
      <c:spPr>
        <a:noFill/>
        <a:ln w="25348">
          <a:noFill/>
        </a:ln>
      </c:spPr>
    </c:plotArea>
    <c:legend>
      <c:legendPos val="r"/>
      <c:layout>
        <c:manualLayout>
          <c:xMode val="edge"/>
          <c:yMode val="edge"/>
          <c:x val="0.75870683906759295"/>
          <c:y val="8.2338020927553338E-2"/>
          <c:w val="0.2274308776683393"/>
          <c:h val="0.87940092736291886"/>
        </c:manualLayout>
      </c:layout>
      <c:overlay val="0"/>
    </c:legend>
    <c:plotVisOnly val="1"/>
    <c:dispBlanksAs val="zero"/>
    <c:showDLblsOverMax val="0"/>
  </c:chart>
  <c:spPr>
    <a:solidFill>
      <a:srgbClr val="FFFFFF">
        <a:alpha val="80000"/>
      </a:srgbClr>
    </a:solidFill>
  </c:spPr>
  <c:txPr>
    <a:bodyPr/>
    <a:lstStyle/>
    <a:p>
      <a:pPr>
        <a:defRPr sz="1400" b="0">
          <a:latin typeface="+mj-lt"/>
        </a:defRPr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3063" cy="488950"/>
          </a:xfrm>
          <a:prstGeom prst="rect">
            <a:avLst/>
          </a:prstGeom>
        </p:spPr>
        <p:txBody>
          <a:bodyPr vert="horz" lIns="90946" tIns="45473" rIns="90946" bIns="45473" rtlCol="0"/>
          <a:lstStyle>
            <a:lvl1pPr algn="l" eaLnBrk="1" hangingPunct="1">
              <a:defRPr sz="1200"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0000" y="0"/>
            <a:ext cx="2913063" cy="488950"/>
          </a:xfrm>
          <a:prstGeom prst="rect">
            <a:avLst/>
          </a:prstGeom>
        </p:spPr>
        <p:txBody>
          <a:bodyPr vert="horz" lIns="90946" tIns="45473" rIns="90946" bIns="45473" rtlCol="0"/>
          <a:lstStyle>
            <a:lvl1pPr algn="r" eaLnBrk="1" hangingPunct="1">
              <a:defRPr sz="1200"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6A8DF70F-872D-4594-82D4-468404264E48}" type="datetimeFigureOut">
              <a:rPr lang="en-GB"/>
              <a:pPr>
                <a:defRPr/>
              </a:pPr>
              <a:t>17/02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285288"/>
            <a:ext cx="2913063" cy="487362"/>
          </a:xfrm>
          <a:prstGeom prst="rect">
            <a:avLst/>
          </a:prstGeom>
        </p:spPr>
        <p:txBody>
          <a:bodyPr vert="horz" lIns="90946" tIns="45473" rIns="90946" bIns="45473" rtlCol="0" anchor="b"/>
          <a:lstStyle>
            <a:lvl1pPr algn="l" eaLnBrk="1" hangingPunct="1">
              <a:defRPr sz="1200"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0000" y="9285288"/>
            <a:ext cx="2913063" cy="487362"/>
          </a:xfrm>
          <a:prstGeom prst="rect">
            <a:avLst/>
          </a:prstGeom>
        </p:spPr>
        <p:txBody>
          <a:bodyPr vert="horz" wrap="square" lIns="90946" tIns="45473" rIns="90946" bIns="4547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4F6FFC7-7B6C-43A6-B6AA-4BC3533EB3B0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5052094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46" tIns="45473" rIns="90946" bIns="45473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1513" y="4703763"/>
            <a:ext cx="5381625" cy="38481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dirty="0" smtClean="0"/>
              <a:t>Click to edit Master text styles</a:t>
            </a:r>
          </a:p>
          <a:p>
            <a:pPr lvl="1"/>
            <a:r>
              <a:rPr lang="en-GB" altLang="en-US" noProof="0" dirty="0" smtClean="0"/>
              <a:t>Second level</a:t>
            </a:r>
          </a:p>
          <a:p>
            <a:pPr lvl="2"/>
            <a:r>
              <a:rPr lang="en-GB" altLang="en-US" noProof="0" dirty="0" smtClean="0"/>
              <a:t>Third level</a:t>
            </a:r>
          </a:p>
          <a:p>
            <a:pPr lvl="3"/>
            <a:r>
              <a:rPr lang="en-GB" altLang="en-US" noProof="0" dirty="0" smtClean="0"/>
              <a:t>Fourth level</a:t>
            </a:r>
          </a:p>
          <a:p>
            <a:pPr lvl="4"/>
            <a:r>
              <a:rPr lang="en-GB" alt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13693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712788" rtl="0" eaLnBrk="0" fontAlgn="base" hangingPunct="0">
      <a:spcBef>
        <a:spcPct val="30000"/>
      </a:spcBef>
      <a:spcAft>
        <a:spcPct val="0"/>
      </a:spcAft>
      <a:buFont typeface="Wingdings" panose="05000000000000000000" pitchFamily="2" charset="2"/>
      <a:defRPr sz="900" kern="1200">
        <a:solidFill>
          <a:schemeClr val="tx1"/>
        </a:solidFill>
        <a:latin typeface="Helvetica 75 Bold" panose="020B0804020202020204" pitchFamily="34" charset="0"/>
        <a:ea typeface="ＭＳ Ｐゴシック" pitchFamily="34" charset="-128"/>
        <a:cs typeface="+mn-cs"/>
      </a:defRPr>
    </a:lvl1pPr>
    <a:lvl2pPr marL="114300" indent="-114300" algn="l" defTabSz="712788" rtl="0" eaLnBrk="0" fontAlgn="base" hangingPunct="0">
      <a:spcBef>
        <a:spcPct val="30000"/>
      </a:spcBef>
      <a:spcAft>
        <a:spcPct val="0"/>
      </a:spcAft>
      <a:buFont typeface="Helvetica 75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2pPr>
    <a:lvl3pPr marL="230188" indent="-115888" algn="l" defTabSz="712788" rtl="0" eaLnBrk="0" fontAlgn="base" hangingPunct="0">
      <a:spcBef>
        <a:spcPct val="30000"/>
      </a:spcBef>
      <a:spcAft>
        <a:spcPct val="0"/>
      </a:spcAft>
      <a:buFont typeface="Helvetica 75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3pPr>
    <a:lvl4pPr marL="342900" indent="-112713" algn="l" defTabSz="712788" rtl="0" eaLnBrk="0" fontAlgn="base" hangingPunct="0">
      <a:spcBef>
        <a:spcPct val="30000"/>
      </a:spcBef>
      <a:spcAft>
        <a:spcPct val="0"/>
      </a:spcAft>
      <a:buFont typeface="Helvetica 75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4pPr>
    <a:lvl5pPr marL="457200" indent="-114300" algn="l" defTabSz="712788" rtl="0" eaLnBrk="0" fontAlgn="base" hangingPunct="0">
      <a:spcBef>
        <a:spcPct val="30000"/>
      </a:spcBef>
      <a:spcAft>
        <a:spcPct val="0"/>
      </a:spcAft>
      <a:buFont typeface="Helvetica 75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083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en-US" dirty="0" smtClean="0"/>
          </a:p>
        </p:txBody>
      </p:sp>
      <p:sp>
        <p:nvSpPr>
          <p:cNvPr id="12083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08413" y="9283700"/>
            <a:ext cx="291465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fld id="{06A82061-335E-43FA-81AB-8A5B48E20A9A}" type="slidenum">
              <a:rPr lang="en-GB" altLang="en-US">
                <a:solidFill>
                  <a:srgbClr val="000000"/>
                </a:solidFill>
              </a:rPr>
              <a:pPr eaLnBrk="1" hangingPunct="1"/>
              <a:t>1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610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083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en-US" smtClean="0"/>
          </a:p>
        </p:txBody>
      </p:sp>
      <p:sp>
        <p:nvSpPr>
          <p:cNvPr id="12083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08413" y="9283700"/>
            <a:ext cx="291465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fld id="{06A82061-335E-43FA-81AB-8A5B48E20A9A}" type="slidenum">
              <a:rPr lang="en-GB" altLang="en-US">
                <a:solidFill>
                  <a:srgbClr val="000000"/>
                </a:solidFill>
              </a:rPr>
              <a:pPr eaLnBrk="1" hangingPunct="1"/>
              <a:t>8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239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721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dirty="0" smtClean="0"/>
          </a:p>
        </p:txBody>
      </p:sp>
      <p:sp>
        <p:nvSpPr>
          <p:cNvPr id="137220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fld id="{D6159314-5A25-42C3-8B84-2ABB2216224F}" type="slidenum">
              <a:rPr lang="en-GB" altLang="fr-FR"/>
              <a:pPr eaLnBrk="1" hangingPunct="1"/>
              <a:t>12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790529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3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3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3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3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2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2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2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28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2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2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1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32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3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3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3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32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3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33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33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3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3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3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39742B9-A49B-4885-819E-C81362D7AE23}" type="slidenum">
              <a:rPr lang="en-GB" altLang="fr-FR" sz="800" smtClean="0"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/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013067659"/>
      </p:ext>
    </p:extLst>
  </p:cSld>
  <p:clrMapOvr>
    <a:masterClrMapping/>
  </p:clrMapOvr>
  <p:transition spd="med">
    <p:fade/>
  </p:transition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8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hangingPunct="1"/>
              <a:endParaRPr lang="fr-FR" altLang="en-US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75720579"/>
      </p:ext>
    </p:extLst>
  </p:cSld>
  <p:clrMapOvr>
    <a:masterClrMapping/>
  </p:clrMapOvr>
  <p:transition spd="med">
    <p:fade/>
  </p:transition>
  <p:hf sldNum="0" hdr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342097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78418538"/>
      </p:ext>
    </p:extLst>
  </p:cSld>
  <p:clrMapOvr>
    <a:masterClrMapping/>
  </p:clrMapOvr>
  <p:transition spd="med">
    <p:fade/>
  </p:transition>
  <p:hf sldNum="0" hdr="0" ftr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413842877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69412662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652475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994556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315673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654905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78659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0321207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689975" y="4684713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B12F9D3C-782D-4D58-A4A7-D9FA768FDCB2}" type="slidenum">
              <a:rPr lang="en-GB" altLang="fr-FR" sz="800" smtClean="0">
                <a:solidFill>
                  <a:schemeClr val="bg1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chemeClr val="bg1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36550" y="4679950"/>
            <a:ext cx="8470900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grpSp>
        <p:nvGrpSpPr>
          <p:cNvPr id="9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46631390"/>
      </p:ext>
    </p:extLst>
  </p:cSld>
  <p:clrMapOvr>
    <a:masterClrMapping/>
  </p:clrMapOvr>
  <p:transition spd="med">
    <p:fade/>
  </p:transition>
  <p:hf sldNum="0" hdr="0" ftr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7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6E5CAC7-C11F-455A-ADEA-D6C4A5D06405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47544904"/>
      </p:ext>
    </p:extLst>
  </p:cSld>
  <p:clrMapOvr>
    <a:masterClrMapping/>
  </p:clrMapOvr>
  <p:transition spd="med">
    <p:fade/>
  </p:transition>
  <p:hf sldNum="0" hdr="0" ft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784354459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17872905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739396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7135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949957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525833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12140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67569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9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CFD25B8-ABE4-48F5-9A91-5770FFA31052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193508589"/>
      </p:ext>
    </p:extLst>
  </p:cSld>
  <p:clrMapOvr>
    <a:masterClrMapping/>
  </p:clrMapOvr>
  <p:transition spd="med">
    <p:fade/>
  </p:transition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83847705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239211168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193538134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94833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630697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806761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226451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535543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279316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2A75E472-6B91-4931-8AB1-4C01B3903EE3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301662"/>
      </p:ext>
    </p:extLst>
  </p:cSld>
  <p:clrMapOvr>
    <a:masterClrMapping/>
  </p:clrMapOvr>
  <p:transition spd="med">
    <p:fade/>
  </p:transition>
  <p:hf sldNum="0" hdr="0" ftr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146947828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36137440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551174255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935104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475977"/>
      </p:ext>
    </p:extLst>
  </p:cSld>
  <p:clrMapOvr>
    <a:masterClrMapping/>
  </p:clrMapOvr>
  <p:transition spd="med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601033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94904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92370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8041226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4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A4548F1E-1335-4CA5-9354-6F345C9A4EDE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65656304"/>
      </p:ext>
    </p:extLst>
  </p:cSld>
  <p:clrMapOvr>
    <a:masterClrMapping/>
  </p:clrMapOvr>
  <p:transition spd="med">
    <p:fade/>
  </p:transition>
  <p:hf sldNum="0" hdr="0" ftr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950097980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53407723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241834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790311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770056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028189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287365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488534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4609808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6AE01F0A-BA0F-4C16-A774-5F77CD5D40F2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31172902"/>
      </p:ext>
    </p:extLst>
  </p:cSld>
  <p:clrMapOvr>
    <a:masterClrMapping/>
  </p:clrMapOvr>
  <p:transition spd="med">
    <p:fade/>
  </p:transition>
  <p:hf sldNum="0" hdr="0" ftr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480523186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239344791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876497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918202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734136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631366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5924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4885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0214993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9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954369238"/>
      </p:ext>
    </p:extLst>
  </p:cSld>
  <p:clrMapOvr>
    <a:masterClrMapping/>
  </p:clrMapOvr>
  <p:transition spd="med">
    <p:fade/>
  </p:transition>
  <p:hf sldNum="0" hdr="0" ftr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883807353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67614083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686254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105983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790080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579755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91331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626469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6766222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49687711"/>
      </p:ext>
    </p:extLst>
  </p:cSld>
  <p:clrMapOvr>
    <a:masterClrMapping/>
  </p:clrMapOvr>
  <p:transition spd="med">
    <p:fade/>
  </p:transition>
  <p:hf sldNum="0" hdr="0" ftr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151659953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367454896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54192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591258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128206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618045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659670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272221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8571552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AA38A44-4ACA-4983-8595-A440ABD01E54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37393324"/>
      </p:ext>
    </p:extLst>
  </p:cSld>
  <p:clrMapOvr>
    <a:masterClrMapping/>
  </p:clrMapOvr>
  <p:transition spd="med">
    <p:fade/>
  </p:transition>
  <p:hf sldNum="0" hdr="0" ftr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808556856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85206544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57049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110756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252587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95971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603374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16915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9220726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6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12B51448-F9F0-41CD-8C51-A16AC4529770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192548731"/>
      </p:ext>
    </p:extLst>
  </p:cSld>
  <p:clrMapOvr>
    <a:masterClrMapping/>
  </p:clrMapOvr>
  <p:transition spd="med">
    <p:fade/>
  </p:transition>
  <p:hf sldNum="0" hdr="0" ftr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240812930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2886668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079054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25578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964444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21991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8300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1191778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5488466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7224D419-8892-490E-96AB-AF21D1A22FD4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596104327"/>
      </p:ext>
    </p:extLst>
  </p:cSld>
  <p:clrMapOvr>
    <a:masterClrMapping/>
  </p:clrMapOvr>
  <p:transition spd="med">
    <p:fade/>
  </p:transition>
  <p:hf sldNum="0" hdr="0" ftr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520358290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88128667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56423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814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774327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973695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38785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7677745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740475345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3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22B8751D-9632-4968-9609-F2F49DD5739B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4128741"/>
      </p:ext>
    </p:extLst>
  </p:cSld>
  <p:clrMapOvr>
    <a:masterClrMapping/>
  </p:clrMapOvr>
  <p:transition spd="med">
    <p:fade/>
  </p:transition>
  <p:hf sldNum="0" hdr="0" ftr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1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0C1E55D3-5DDA-4EEF-AA3C-CF70438B185B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5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3604707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fr-FR" altLang="fr-FR" sz="1800" smtClean="0">
                <a:solidFill>
                  <a:srgbClr val="0000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326" y="268289"/>
            <a:ext cx="4828498" cy="2301874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63348383"/>
      </p:ext>
    </p:extLst>
  </p:cSld>
  <p:clrMapOvr>
    <a:masterClrMapping/>
  </p:clrMapOvr>
  <p:transition spd="med">
    <p:fade/>
  </p:transition>
  <p:hf sldNum="0" hdr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470B490E-9DAF-4616-B569-CD138D3924EA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771359942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1D092234-338E-486D-A4D8-D9F04B1E55D5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20971617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BAFE956-B682-41DA-9F13-4F71DEF7D0B6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043916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CD4576F4-C4C5-49E0-A602-25046708AC13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967624913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FR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49588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298513C0-20E9-43A0-88F4-B85BD0AC6A08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2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002663621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50178F19-1659-425A-B57C-FFFF9E8A39CE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5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55 Roman" panose="020B0604020202020204" pitchFamily="34" charset="0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1989978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0E95572-07B0-4A29-BB38-5BA833386E40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fr-FR" altLang="fr-FR" sz="1800" smtClean="0">
                <a:solidFill>
                  <a:srgbClr val="0000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326" y="268289"/>
            <a:ext cx="4828498" cy="2301874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819179617"/>
      </p:ext>
    </p:extLst>
  </p:cSld>
  <p:clrMapOvr>
    <a:masterClrMapping/>
  </p:clrMapOvr>
  <p:transition spd="med">
    <p:fade/>
  </p:transition>
  <p:hf sldNum="0"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5542637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B5C9B107-EB1E-4EC5-A36A-4637AE4CB5CF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0455684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611E0FC7-6A83-486D-9B06-3BAFF82E0425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54593911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EFC95FF8-CF61-44E9-99CE-ECEC0AA281BD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7080724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3B2ABF3B-B8CF-41E9-B914-9992B0010EBE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095509742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FR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9839930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406C8525-D948-44B7-B81F-AF53D5A8D0C5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2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330610454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F0CECDBD-4BD7-4DEE-A08B-D75262FE7104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5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0404966"/>
      </p:ext>
    </p:extLst>
  </p:cSld>
  <p:clrMapOvr>
    <a:masterClrMapping/>
  </p:clrMapOvr>
  <p:transition spd="med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fr-FR" altLang="fr-FR" sz="1800" smtClean="0">
                <a:solidFill>
                  <a:srgbClr val="0000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326" y="268289"/>
            <a:ext cx="4828498" cy="2301874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85533230"/>
      </p:ext>
    </p:extLst>
  </p:cSld>
  <p:clrMapOvr>
    <a:masterClrMapping/>
  </p:clrMapOvr>
  <p:transition spd="med">
    <p:fade/>
  </p:transition>
  <p:hf sldNum="0" hdr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4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7D00EB97-B02D-4C97-AEF2-9F89D33515CA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475107159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7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C525B3A8-C139-46E7-BA3E-E0BBFAC81234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5210522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54760816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9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27E089A6-E225-414E-BEE9-C80681F8BED5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4277249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F62270E6-7E4A-4045-BA27-E622FA5A145E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68552659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FR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1935579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4DF5561-D85F-44A0-B8E1-AEA0E4A04C87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2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171286593"/>
      </p:ext>
    </p:extLst>
  </p:cSld>
  <p:clrMapOvr>
    <a:masterClrMapping/>
  </p:clrMapOvr>
  <p:transition spd="med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7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GB" sz="2000" dirty="0">
              <a:solidFill>
                <a:srgbClr val="FFFFFF"/>
              </a:solidFill>
              <a:latin typeface="Helvetica 75 Bold"/>
              <a:ea typeface="ＭＳ Ｐゴシック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92075" y="4727575"/>
            <a:ext cx="274638" cy="3349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74272217-3703-47E7-B459-96B1218111A8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411163" y="472281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interna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US" altLang="en-US" sz="1800" smtClean="0">
                <a:solidFill>
                  <a:srgbClr val="FF66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3053447"/>
      </p:ext>
    </p:extLst>
  </p:cSld>
  <p:clrMapOvr>
    <a:masterClrMapping/>
  </p:clrMapOvr>
  <p:transition spd="med">
    <p:fade/>
  </p:transition>
  <p:hf sldNum="0" hdr="0" ftr="0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39923066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5370383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942485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094967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6316503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240504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64996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404506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9838024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1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GB" sz="2000" dirty="0">
              <a:solidFill>
                <a:srgbClr val="FFFFFF"/>
              </a:solidFill>
              <a:latin typeface="Helvetica 75 Bold"/>
              <a:ea typeface="ＭＳ Ｐゴシック"/>
              <a:sym typeface="Helvetica 75 Bold"/>
            </a:endParaRPr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92075" y="4727575"/>
            <a:ext cx="274638" cy="3349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F2B380F3-9510-442B-AD85-BB53756102E8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411163" y="472281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internal</a:t>
            </a:r>
          </a:p>
        </p:txBody>
      </p:sp>
      <p:sp>
        <p:nvSpPr>
          <p:cNvPr id="6" name="Holder 2"/>
          <p:cNvSpPr>
            <a:spLocks noGrp="1"/>
          </p:cNvSpPr>
          <p:nvPr>
            <p:ph type="ftr" sz="quarter" idx="10"/>
          </p:nvPr>
        </p:nvSpPr>
        <p:spPr>
          <a:xfrm>
            <a:off x="3108325" y="4783138"/>
            <a:ext cx="2927350" cy="257175"/>
          </a:xfrm>
          <a:prstGeom prst="rect">
            <a:avLst/>
          </a:prstGeom>
        </p:spPr>
        <p:txBody>
          <a:bodyPr lIns="0" tIns="0" rIns="0" bIns="0"/>
          <a:lstStyle>
            <a:lvl1pPr algn="ctr" eaLnBrk="1" hangingPunct="1">
              <a:defRPr>
                <a:solidFill>
                  <a:srgbClr val="000000">
                    <a:tint val="75000"/>
                  </a:srgbClr>
                </a:solidFill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7" name="Holder 3"/>
          <p:cNvSpPr>
            <a:spLocks noGrp="1"/>
          </p:cNvSpPr>
          <p:nvPr>
            <p:ph type="dt" sz="half" idx="11"/>
          </p:nvPr>
        </p:nvSpPr>
        <p:spPr>
          <a:xfrm>
            <a:off x="457200" y="4783138"/>
            <a:ext cx="2103438" cy="257175"/>
          </a:xfrm>
          <a:prstGeom prst="rect">
            <a:avLst/>
          </a:prstGeom>
        </p:spPr>
        <p:txBody>
          <a:bodyPr lIns="0" tIns="0" rIns="0" bIns="0"/>
          <a:lstStyle>
            <a:lvl1pPr algn="l" eaLnBrk="1" hangingPunct="1">
              <a:defRPr>
                <a:solidFill>
                  <a:srgbClr val="000000">
                    <a:tint val="75000"/>
                  </a:srgbClr>
                </a:solidFill>
                <a:cs typeface="+mn-cs"/>
              </a:defRPr>
            </a:lvl1pPr>
          </a:lstStyle>
          <a:p>
            <a:pPr>
              <a:defRPr/>
            </a:pPr>
            <a:fld id="{1FCBFB48-819B-4086-AA66-B385AD147B92}" type="datetimeFigureOut">
              <a:rPr lang="en-US"/>
              <a:pPr>
                <a:defRPr/>
              </a:pPr>
              <a:t>2/17/2021</a:t>
            </a:fld>
            <a:endParaRPr lang="en-US" dirty="0"/>
          </a:p>
        </p:txBody>
      </p:sp>
      <p:sp>
        <p:nvSpPr>
          <p:cNvPr id="8" name="Holder 4"/>
          <p:cNvSpPr>
            <a:spLocks noGrp="1"/>
          </p:cNvSpPr>
          <p:nvPr>
            <p:ph type="sldNum" sz="quarter" idx="12"/>
          </p:nvPr>
        </p:nvSpPr>
        <p:spPr>
          <a:xfrm>
            <a:off x="406400" y="4919663"/>
            <a:ext cx="165100" cy="1397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5400" eaLnBrk="1" hangingPunct="1">
              <a:spcBef>
                <a:spcPts val="25"/>
              </a:spcBef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A5DA662-F9D0-40F5-9AE5-5E5EC07718E1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9712607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6931244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en-US" altLang="en-US" sz="1800" smtClean="0">
                <a:solidFill>
                  <a:srgbClr val="0000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326" y="268289"/>
            <a:ext cx="4828498" cy="2301874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660788825"/>
      </p:ext>
    </p:extLst>
  </p:cSld>
  <p:clrMapOvr>
    <a:masterClrMapping/>
  </p:clrMapOvr>
  <p:transition spd="med">
    <p:fade/>
  </p:transition>
  <p:hf sldNum="0" hdr="0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68505326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5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712608" eaLnBrk="1" hangingPunct="1">
              <a:defRPr/>
            </a:pPr>
            <a:endParaRPr lang="fr-FR" sz="2000" dirty="0">
              <a:solidFill>
                <a:srgbClr val="000000"/>
              </a:solidFill>
              <a:sym typeface="Helvetica 75 Bold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47625" y="47640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F2D35794-1CF0-42A4-9838-D1B29F97F355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81000" y="4968875"/>
            <a:ext cx="7635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en-US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Orange internal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6725" y="2139813"/>
            <a:ext cx="8326437" cy="863874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fr-FR" dirty="0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3288537285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72802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en-US" altLang="en-US" sz="1800" smtClean="0">
                <a:solidFill>
                  <a:srgbClr val="0000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326" y="268289"/>
            <a:ext cx="4828498" cy="2301874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988291248"/>
      </p:ext>
    </p:extLst>
  </p:cSld>
  <p:clrMapOvr>
    <a:masterClrMapping/>
  </p:clrMapOvr>
  <p:transition spd="med">
    <p:fade/>
  </p:transition>
  <p:hf sldNum="0"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442617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71666923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9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712608" eaLnBrk="1" hangingPunct="1">
              <a:defRPr/>
            </a:pPr>
            <a:endParaRPr lang="fr-FR" sz="2000" dirty="0">
              <a:solidFill>
                <a:srgbClr val="000000"/>
              </a:solidFill>
              <a:sym typeface="Helvetica 75 Bold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47625" y="47640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1859CF70-F1AC-4B36-AD33-A4F5E8AC9FD1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81000" y="4968875"/>
            <a:ext cx="7635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en-US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Orange internal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6725" y="2139813"/>
            <a:ext cx="8326437" cy="863874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fr-FR" dirty="0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4153191985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63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latin typeface="Helvetica 75 Bold"/>
              <a:ea typeface="ＭＳ Ｐゴシック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C59F7EE4-4F00-4DC3-920D-429DC1E1BCB4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sz="800">
                <a:solidFill>
                  <a:srgbClr val="FF6600"/>
                </a:solidFill>
                <a:latin typeface="Helvetica 75 Bold" panose="020B0804020202020204" pitchFamily="34" charset="0"/>
              </a:rPr>
              <a:t>Ateliers Futur OLN</a:t>
            </a:r>
            <a:endParaRPr lang="en-GB" sz="80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US" altLang="en-US" sz="1800" smtClean="0">
                <a:solidFill>
                  <a:srgbClr val="FF66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38270243"/>
      </p:ext>
    </p:extLst>
  </p:cSld>
  <p:clrMapOvr>
    <a:masterClrMapping/>
  </p:clrMapOvr>
  <p:transition spd="med">
    <p:fade/>
  </p:transition>
  <p:hf sldNum="0" hdr="0" ftr="0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5979442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73160855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081620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17354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957676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409113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87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latin typeface="Helvetica 75 Bold"/>
              <a:ea typeface="ＭＳ Ｐゴシック"/>
              <a:sym typeface="Helvetica 75 Bold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7B3B0D2D-2FA6-42AC-B292-3B223A96E7EE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sz="800">
                <a:solidFill>
                  <a:srgbClr val="FF6600"/>
                </a:solidFill>
                <a:latin typeface="Helvetica 75 Bold" panose="020B0804020202020204" pitchFamily="34" charset="0"/>
              </a:rPr>
              <a:t>Ateliers Futur OLN</a:t>
            </a:r>
            <a:endParaRPr lang="en-GB" sz="80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46100" y="4598988"/>
            <a:ext cx="1214438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851111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328281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6568931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11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latin typeface="Helvetica 75 Bold"/>
              <a:ea typeface="ＭＳ Ｐゴシック"/>
              <a:sym typeface="Helvetica 75 Bold"/>
            </a:endParaRPr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A6B07AD-D40E-4021-A870-5230158CFBDA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sz="800">
                <a:solidFill>
                  <a:srgbClr val="FF6600"/>
                </a:solidFill>
                <a:latin typeface="Helvetica 75 Bold" panose="020B0804020202020204" pitchFamily="34" charset="0"/>
              </a:rPr>
              <a:t>Ateliers Futur OLN</a:t>
            </a:r>
            <a:endParaRPr lang="en-GB" sz="80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6" name="Holder 2"/>
          <p:cNvSpPr>
            <a:spLocks noGrp="1"/>
          </p:cNvSpPr>
          <p:nvPr>
            <p:ph type="ftr" sz="quarter" idx="10"/>
          </p:nvPr>
        </p:nvSpPr>
        <p:spPr>
          <a:xfrm>
            <a:off x="3108325" y="4783138"/>
            <a:ext cx="2927350" cy="257175"/>
          </a:xfrm>
          <a:prstGeom prst="rect">
            <a:avLst/>
          </a:prstGeom>
        </p:spPr>
        <p:txBody>
          <a:bodyPr lIns="0" tIns="0" rIns="0" bIns="0"/>
          <a:lstStyle>
            <a:lvl1pPr algn="ctr" eaLnBrk="1" hangingPunct="1">
              <a:defRPr>
                <a:solidFill>
                  <a:srgbClr val="000000">
                    <a:tint val="75000"/>
                  </a:srgbClr>
                </a:solidFill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7" name="Holder 3"/>
          <p:cNvSpPr>
            <a:spLocks noGrp="1"/>
          </p:cNvSpPr>
          <p:nvPr>
            <p:ph type="dt" sz="half" idx="11"/>
          </p:nvPr>
        </p:nvSpPr>
        <p:spPr>
          <a:xfrm>
            <a:off x="457200" y="4783138"/>
            <a:ext cx="2103438" cy="257175"/>
          </a:xfrm>
          <a:prstGeom prst="rect">
            <a:avLst/>
          </a:prstGeom>
        </p:spPr>
        <p:txBody>
          <a:bodyPr lIns="0" tIns="0" rIns="0" bIns="0"/>
          <a:lstStyle>
            <a:lvl1pPr algn="l" eaLnBrk="1" hangingPunct="1">
              <a:defRPr>
                <a:solidFill>
                  <a:srgbClr val="000000">
                    <a:tint val="75000"/>
                  </a:srgbClr>
                </a:solidFill>
                <a:cs typeface="+mn-cs"/>
              </a:defRPr>
            </a:lvl1pPr>
          </a:lstStyle>
          <a:p>
            <a:pPr>
              <a:defRPr/>
            </a:pPr>
            <a:fld id="{76E4EE71-41BE-4150-BDC9-A475D22B49C0}" type="datetimeFigureOut">
              <a:rPr lang="en-US"/>
              <a:pPr>
                <a:defRPr/>
              </a:pPr>
              <a:t>2/17/2021</a:t>
            </a:fld>
            <a:endParaRPr lang="en-US" dirty="0"/>
          </a:p>
        </p:txBody>
      </p:sp>
      <p:sp>
        <p:nvSpPr>
          <p:cNvPr id="8" name="Holder 4"/>
          <p:cNvSpPr>
            <a:spLocks noGrp="1"/>
          </p:cNvSpPr>
          <p:nvPr>
            <p:ph type="sldNum" sz="quarter" idx="12"/>
          </p:nvPr>
        </p:nvSpPr>
        <p:spPr>
          <a:xfrm>
            <a:off x="406400" y="4919663"/>
            <a:ext cx="165100" cy="1397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5400" eaLnBrk="1" hangingPunct="1">
              <a:spcBef>
                <a:spcPts val="25"/>
              </a:spcBef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6E8E7B9-ABD4-4507-B3CD-6D74E825030D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99187659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s_02">
    <p:bg>
      <p:bgPr>
        <a:solidFill>
          <a:srgbClr val="FFD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/>
          <p:cNvSpPr>
            <a:spLocks noChangeAspect="1" noEditPoints="1"/>
          </p:cNvSpPr>
          <p:nvPr userDrawn="1"/>
        </p:nvSpPr>
        <p:spPr bwMode="white">
          <a:xfrm>
            <a:off x="0" y="0"/>
            <a:ext cx="9144000" cy="5143500"/>
          </a:xfrm>
          <a:custGeom>
            <a:avLst/>
            <a:gdLst>
              <a:gd name="T0" fmla="*/ 0 w 6803"/>
              <a:gd name="T1" fmla="*/ 0 h 5102"/>
              <a:gd name="T2" fmla="*/ 0 w 6803"/>
              <a:gd name="T3" fmla="*/ 2147483646 h 5102"/>
              <a:gd name="T4" fmla="*/ 2147483646 w 6803"/>
              <a:gd name="T5" fmla="*/ 2147483646 h 5102"/>
              <a:gd name="T6" fmla="*/ 2147483646 w 6803"/>
              <a:gd name="T7" fmla="*/ 0 h 5102"/>
              <a:gd name="T8" fmla="*/ 0 w 6803"/>
              <a:gd name="T9" fmla="*/ 0 h 5102"/>
              <a:gd name="T10" fmla="*/ 2147483646 w 6803"/>
              <a:gd name="T11" fmla="*/ 2147483646 h 5102"/>
              <a:gd name="T12" fmla="*/ 2147483646 w 6803"/>
              <a:gd name="T13" fmla="*/ 2147483646 h 5102"/>
              <a:gd name="T14" fmla="*/ 2147483646 w 6803"/>
              <a:gd name="T15" fmla="*/ 2147483646 h 5102"/>
              <a:gd name="T16" fmla="*/ 2147483646 w 6803"/>
              <a:gd name="T17" fmla="*/ 2147483646 h 5102"/>
              <a:gd name="T18" fmla="*/ 2147483646 w 6803"/>
              <a:gd name="T19" fmla="*/ 2147483646 h 510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6803" h="5102">
                <a:moveTo>
                  <a:pt x="0" y="0"/>
                </a:moveTo>
                <a:lnTo>
                  <a:pt x="0" y="5102"/>
                </a:lnTo>
                <a:lnTo>
                  <a:pt x="6803" y="5102"/>
                </a:lnTo>
                <a:lnTo>
                  <a:pt x="6803" y="0"/>
                </a:lnTo>
                <a:lnTo>
                  <a:pt x="0" y="0"/>
                </a:lnTo>
                <a:close/>
                <a:moveTo>
                  <a:pt x="6751" y="5048"/>
                </a:moveTo>
                <a:lnTo>
                  <a:pt x="52" y="5048"/>
                </a:lnTo>
                <a:lnTo>
                  <a:pt x="52" y="54"/>
                </a:lnTo>
                <a:lnTo>
                  <a:pt x="6751" y="54"/>
                </a:lnTo>
                <a:lnTo>
                  <a:pt x="6751" y="50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cxnSp>
        <p:nvCxnSpPr>
          <p:cNvPr id="6" name="Straight Connector 152"/>
          <p:cNvCxnSpPr/>
          <p:nvPr userDrawn="1"/>
        </p:nvCxnSpPr>
        <p:spPr>
          <a:xfrm flipH="1">
            <a:off x="457200" y="3022600"/>
            <a:ext cx="82280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731" y="340506"/>
            <a:ext cx="8226689" cy="2441813"/>
          </a:xfrm>
          <a:noFill/>
          <a:ln>
            <a:noFill/>
          </a:ln>
        </p:spPr>
        <p:txBody>
          <a:bodyPr>
            <a:noAutofit/>
          </a:bodyPr>
          <a:lstStyle>
            <a:lvl1pPr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 lang="fr-FR" sz="6600" kern="1200" cap="none" baseline="0" noProof="0" dirty="0">
                <a:solidFill>
                  <a:schemeClr val="bg1"/>
                </a:solidFill>
                <a:effectLst/>
                <a:latin typeface="Helvetica 75 Bold" pitchFamily="34" charset="0"/>
                <a:ea typeface="ＭＳ Ｐゴシック" pitchFamily="34" charset="-128"/>
                <a:cs typeface="+mj-cs"/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58788" y="3240389"/>
            <a:ext cx="5438508" cy="1565430"/>
          </a:xfrm>
          <a:noFill/>
          <a:ln>
            <a:noFill/>
          </a:ln>
        </p:spPr>
        <p:txBody>
          <a:bodyPr>
            <a:noAutofit/>
          </a:bodyPr>
          <a:lstStyle>
            <a:lvl1pPr marL="171450" indent="-171450" algn="l" defTabSz="514350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FontTx/>
              <a:buChar char="+"/>
              <a:defRPr lang="fr-FR" sz="1600" i="0" kern="1200" baseline="0" noProof="0" smtClean="0">
                <a:solidFill>
                  <a:schemeClr val="bg1"/>
                </a:solidFill>
                <a:latin typeface="Helvetica 35 Thin" pitchFamily="34" charset="0"/>
                <a:ea typeface="ＭＳ Ｐゴシック" pitchFamily="34" charset="-128"/>
                <a:cs typeface="+mn-cs"/>
              </a:defRPr>
            </a:lvl1pPr>
            <a:lvl2pPr marL="171450" indent="-171450" algn="l" defTabSz="514350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FontTx/>
              <a:buChar char="+"/>
              <a:defRPr lang="fr-FR" sz="1600" i="0" kern="1200" baseline="0" noProof="0" smtClean="0">
                <a:solidFill>
                  <a:schemeClr val="bg1"/>
                </a:solidFill>
                <a:latin typeface="Helvetica 35 Thin" pitchFamily="34" charset="0"/>
                <a:ea typeface="ＭＳ Ｐゴシック" pitchFamily="34" charset="-128"/>
                <a:cs typeface="+mn-cs"/>
              </a:defRPr>
            </a:lvl2pPr>
            <a:lvl3pPr marL="171450" indent="-171450" algn="l" defTabSz="514350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FontTx/>
              <a:buChar char="+"/>
              <a:defRPr lang="fr-FR" sz="1600" i="0" kern="1200" baseline="0" noProof="0" smtClean="0">
                <a:solidFill>
                  <a:schemeClr val="bg1"/>
                </a:solidFill>
                <a:latin typeface="Helvetica 35 Thin" pitchFamily="34" charset="0"/>
                <a:ea typeface="ＭＳ Ｐゴシック" pitchFamily="34" charset="-128"/>
                <a:cs typeface="+mn-cs"/>
              </a:defRPr>
            </a:lvl3pPr>
            <a:lvl4pPr marL="171450" indent="-171450" algn="l" defTabSz="514350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FontTx/>
              <a:buChar char="+"/>
              <a:defRPr lang="fr-FR" sz="1600" i="0" kern="1200" baseline="0" noProof="0" smtClean="0">
                <a:solidFill>
                  <a:schemeClr val="bg1"/>
                </a:solidFill>
                <a:latin typeface="Helvetica 35 Thin" pitchFamily="34" charset="0"/>
                <a:ea typeface="ＭＳ Ｐゴシック" pitchFamily="34" charset="-128"/>
                <a:cs typeface="+mn-cs"/>
              </a:defRPr>
            </a:lvl4pPr>
            <a:lvl5pPr marL="171450" indent="-171450" algn="l" defTabSz="514350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FontTx/>
              <a:buChar char="+"/>
              <a:defRPr lang="fr-FR" sz="1600" i="0" kern="1200" baseline="0" noProof="0">
                <a:solidFill>
                  <a:schemeClr val="bg1"/>
                </a:solidFill>
                <a:latin typeface="Helvetica 35 Thin" pitchFamily="34" charset="0"/>
                <a:ea typeface="ＭＳ Ｐゴシック" pitchFamily="34" charset="-128"/>
                <a:cs typeface="+mn-cs"/>
              </a:defRPr>
            </a:lvl5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043787" y="3137551"/>
            <a:ext cx="2640634" cy="1661858"/>
          </a:xfrm>
          <a:noFill/>
          <a:ln>
            <a:noFill/>
          </a:ln>
        </p:spPr>
        <p:txBody>
          <a:bodyPr anchor="ctr">
            <a:noAutofit/>
          </a:bodyPr>
          <a:lstStyle>
            <a:lvl1pPr algn="r">
              <a:buFontTx/>
              <a:buNone/>
              <a:defRPr lang="fr-FR" sz="13300" b="1" i="0" kern="1200" baseline="0" noProof="0">
                <a:solidFill>
                  <a:schemeClr val="bg1"/>
                </a:solidFill>
                <a:latin typeface="Helvetica 75 Bold" pitchFamily="34" charset="0"/>
                <a:ea typeface="ＭＳ Ｐゴシック" pitchFamily="34" charset="-128"/>
                <a:cs typeface="+mn-cs"/>
              </a:defRPr>
            </a:lvl1pPr>
            <a:lvl2pPr algn="r">
              <a:buFontTx/>
              <a:buNone/>
              <a:defRPr sz="1330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algn="r">
              <a:buFontTx/>
              <a:buNone/>
              <a:defRPr sz="13300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algn="r">
              <a:buFontTx/>
              <a:buNone/>
              <a:defRPr sz="13300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algn="r">
              <a:buFontTx/>
              <a:buNone/>
              <a:defRPr sz="13300">
                <a:solidFill>
                  <a:schemeClr val="bg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966860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6277D056-B59F-4A21-A064-B83CE75D0358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sz="800">
                <a:solidFill>
                  <a:srgbClr val="FF6600"/>
                </a:solidFill>
                <a:latin typeface="Helvetica 75 Bold" panose="020B0804020202020204" pitchFamily="34" charset="0"/>
              </a:rPr>
              <a:t>Ateliers Futur OLN</a:t>
            </a:r>
            <a:endParaRPr lang="en-GB" sz="80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US" altLang="en-US" sz="1800" smtClean="0">
                <a:solidFill>
                  <a:srgbClr val="FF66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67132495"/>
      </p:ext>
    </p:extLst>
  </p:cSld>
  <p:clrMapOvr>
    <a:masterClrMapping/>
  </p:clrMapOvr>
  <p:transition spd="med">
    <p:fade/>
  </p:transition>
  <p:hf sldNum="0" hdr="0" ftr="0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35394682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2540639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772522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025648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516062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575326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07662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688078"/>
      </p:ext>
    </p:extLst>
  </p:cSld>
  <p:clrMapOvr>
    <a:masterClrMapping/>
  </p:clrMapOvr>
  <p:transition spd="med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8401174"/>
      </p:ext>
    </p:extLst>
  </p:cSld>
  <p:clrMapOvr>
    <a:masterClrMapping/>
  </p:clrMapOvr>
  <p:transition spd="med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298216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en-US" altLang="en-US" sz="1800" smtClean="0">
                <a:solidFill>
                  <a:srgbClr val="000000"/>
                </a:solidFill>
                <a:latin typeface="Helvetica 55 Roman" pitchFamily="34" charset="0"/>
                <a:cs typeface="Arial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35" y="267618"/>
            <a:ext cx="4829289" cy="2304131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569186"/>
      </p:ext>
    </p:extLst>
  </p:cSld>
  <p:clrMapOvr>
    <a:masterClrMapping/>
  </p:clrMapOvr>
  <p:transition spd="med">
    <p:fade/>
  </p:transition>
  <p:hf sldNum="0" hdr="0"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2517464"/>
      </p:ext>
    </p:extLst>
  </p:cSld>
  <p:clrMapOvr>
    <a:masterClrMapping/>
  </p:clrMapOvr>
  <p:transition spd="med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903120"/>
      </p:ext>
    </p:extLst>
  </p:cSld>
  <p:clrMapOvr>
    <a:masterClrMapping/>
  </p:clrMapOvr>
  <p:transition spd="med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1134820"/>
      </p:ext>
    </p:extLst>
  </p:cSld>
  <p:clrMapOvr>
    <a:masterClrMapping/>
  </p:clrMapOvr>
  <p:transition spd="med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Me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061494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8222035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2400" dirty="0">
              <a:solidFill>
                <a:srgbClr val="000000"/>
              </a:solidFill>
              <a:latin typeface="Helvetica 75 Bold"/>
              <a:ea typeface="+mj-ea"/>
              <a:cs typeface="+mj-cs"/>
              <a:sym typeface="Helvetica 75 Bold"/>
            </a:endParaRPr>
          </a:p>
        </p:txBody>
      </p:sp>
    </p:spTree>
    <p:extLst>
      <p:ext uri="{BB962C8B-B14F-4D97-AF65-F5344CB8AC3E}">
        <p14:creationId xmlns:p14="http://schemas.microsoft.com/office/powerpoint/2010/main" val="3882910626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483631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8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2400" dirty="0">
              <a:solidFill>
                <a:srgbClr val="000000"/>
              </a:solidFill>
              <a:latin typeface="Helvetica 75 Bold"/>
              <a:ea typeface="+mj-ea"/>
              <a:cs typeface="+mj-cs"/>
              <a:sym typeface="Helvetica 75 Bold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7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8063037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smtClean="0"/>
              <a:t>click to edit master title style</a:t>
            </a:r>
            <a:endParaRPr lang="fr-FR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011238" y="1319213"/>
            <a:ext cx="7099300" cy="3362325"/>
          </a:xfrm>
        </p:spPr>
        <p:txBody>
          <a:bodyPr/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2069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363332701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0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04CE538F-3D81-428B-A42B-BA20C6464924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378752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en-US" altLang="en-US" sz="1800" smtClean="0">
                <a:solidFill>
                  <a:srgbClr val="0000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326" y="268289"/>
            <a:ext cx="4828498" cy="2301874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29912470"/>
      </p:ext>
    </p:extLst>
  </p:cSld>
  <p:clrMapOvr>
    <a:masterClrMapping/>
  </p:clrMapOvr>
  <p:transition spd="med">
    <p:fade/>
  </p:transition>
  <p:hf sldNum="0" hdr="0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3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8621B71F-11AC-4AD4-82C6-57B7B170E39C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11732766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5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3920FC2-8EC3-41E8-97CE-52F7A8BCFB57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52984309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7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147B7B8F-6449-4048-960F-33FF91F08BFA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3455033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0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2742946-8416-42EF-8760-F24FCAD049D5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122028362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FR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3212684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1855530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2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57D68A81-260E-4E86-B8F0-3B93AAA6D76D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274288738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09105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5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32CDE4D6-C1FF-469F-8F7B-3B266ED4F5C4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36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46564"/>
      </p:ext>
    </p:extLst>
  </p:cSld>
  <p:clrMapOvr>
    <a:masterClrMapping/>
  </p:clrMapOvr>
  <p:transition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7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4B39050C-A00A-4B98-8BEB-5217CD18953A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112699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en-US" altLang="en-US" sz="1800" smtClean="0">
                <a:solidFill>
                  <a:srgbClr val="0000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326" y="268289"/>
            <a:ext cx="4828498" cy="2301874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70790105"/>
      </p:ext>
    </p:extLst>
  </p:cSld>
  <p:clrMapOvr>
    <a:masterClrMapping/>
  </p:clrMapOvr>
  <p:transition spd="med">
    <p:fade/>
  </p:transition>
  <p:hf sldNum="0" hdr="0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0BEC4622-B3D4-4331-9D8D-FCF069CEFC65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661481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2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A62DF4D4-EC62-40AE-9406-10301B6AE118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57191486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4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53C40B3A-17A5-4143-9B23-9C848AEC0DF4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3410606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7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13BF991-7914-40E7-9300-4FC3EA018A53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4044176063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FR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92495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80C63FA9-DEA8-4F08-A413-F483B9FABC2B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66131972"/>
      </p:ext>
    </p:extLst>
  </p:cSld>
  <p:clrMapOvr>
    <a:masterClrMapping/>
  </p:clrMapOvr>
  <p:transition spd="med">
    <p:fade/>
  </p:transition>
  <p:hf sldNum="0" hdr="0" ftr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9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0F42C785-F642-4CB3-BDA7-5E3F4E5648A8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91285994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7397347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en-US" altLang="en-US" sz="1800" smtClean="0">
                <a:solidFill>
                  <a:srgbClr val="000000"/>
                </a:solidFill>
                <a:latin typeface="Helvetica 75 Bold" pitchFamily="34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6 w 93"/>
                <a:gd name="T1" fmla="*/ 2147483646 h 109"/>
                <a:gd name="T2" fmla="*/ 2147483646 w 93"/>
                <a:gd name="T3" fmla="*/ 2147483646 h 109"/>
                <a:gd name="T4" fmla="*/ 0 w 93"/>
                <a:gd name="T5" fmla="*/ 2147483646 h 109"/>
                <a:gd name="T6" fmla="*/ 2147483646 w 93"/>
                <a:gd name="T7" fmla="*/ 2147483646 h 109"/>
                <a:gd name="T8" fmla="*/ 2147483646 w 93"/>
                <a:gd name="T9" fmla="*/ 2147483646 h 109"/>
                <a:gd name="T10" fmla="*/ 2147483646 w 93"/>
                <a:gd name="T11" fmla="*/ 2147483646 h 109"/>
                <a:gd name="T12" fmla="*/ 2147483646 w 93"/>
                <a:gd name="T13" fmla="*/ 2147483646 h 109"/>
                <a:gd name="T14" fmla="*/ 2147483646 w 93"/>
                <a:gd name="T15" fmla="*/ 2147483646 h 109"/>
                <a:gd name="T16" fmla="*/ 2147483646 w 93"/>
                <a:gd name="T17" fmla="*/ 0 h 109"/>
                <a:gd name="T18" fmla="*/ 2147483646 w 93"/>
                <a:gd name="T19" fmla="*/ 2147483646 h 109"/>
                <a:gd name="T20" fmla="*/ 2147483646 w 93"/>
                <a:gd name="T21" fmla="*/ 2147483646 h 109"/>
                <a:gd name="T22" fmla="*/ 2147483646 w 93"/>
                <a:gd name="T23" fmla="*/ 2147483646 h 109"/>
                <a:gd name="T24" fmla="*/ 2147483646 w 93"/>
                <a:gd name="T25" fmla="*/ 2147483646 h 109"/>
                <a:gd name="T26" fmla="*/ 2147483646 w 93"/>
                <a:gd name="T27" fmla="*/ 2147483646 h 109"/>
                <a:gd name="T28" fmla="*/ 2147483646 w 93"/>
                <a:gd name="T29" fmla="*/ 2147483646 h 109"/>
                <a:gd name="T30" fmla="*/ 2147483646 w 93"/>
                <a:gd name="T31" fmla="*/ 2147483646 h 109"/>
                <a:gd name="T32" fmla="*/ 2147483646 w 93"/>
                <a:gd name="T33" fmla="*/ 2147483646 h 109"/>
                <a:gd name="T34" fmla="*/ 2147483646 w 93"/>
                <a:gd name="T35" fmla="*/ 2147483646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6 h 108"/>
                <a:gd name="T2" fmla="*/ 2147483646 w 94"/>
                <a:gd name="T3" fmla="*/ 2147483646 h 108"/>
                <a:gd name="T4" fmla="*/ 2147483646 w 94"/>
                <a:gd name="T5" fmla="*/ 2147483646 h 108"/>
                <a:gd name="T6" fmla="*/ 2147483646 w 94"/>
                <a:gd name="T7" fmla="*/ 0 h 108"/>
                <a:gd name="T8" fmla="*/ 2147483646 w 94"/>
                <a:gd name="T9" fmla="*/ 2147483646 h 108"/>
                <a:gd name="T10" fmla="*/ 2147483646 w 94"/>
                <a:gd name="T11" fmla="*/ 2147483646 h 108"/>
                <a:gd name="T12" fmla="*/ 2147483646 w 94"/>
                <a:gd name="T13" fmla="*/ 2147483646 h 108"/>
                <a:gd name="T14" fmla="*/ 2147483646 w 94"/>
                <a:gd name="T15" fmla="*/ 2147483646 h 108"/>
                <a:gd name="T16" fmla="*/ 2147483646 w 94"/>
                <a:gd name="T17" fmla="*/ 2147483646 h 108"/>
                <a:gd name="T18" fmla="*/ 2147483646 w 94"/>
                <a:gd name="T19" fmla="*/ 2147483646 h 108"/>
                <a:gd name="T20" fmla="*/ 2147483646 w 94"/>
                <a:gd name="T21" fmla="*/ 2147483646 h 108"/>
                <a:gd name="T22" fmla="*/ 0 w 94"/>
                <a:gd name="T23" fmla="*/ 2147483646 h 108"/>
                <a:gd name="T24" fmla="*/ 0 w 94"/>
                <a:gd name="T25" fmla="*/ 2147483646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6 w 98"/>
                <a:gd name="T1" fmla="*/ 2147483646 h 110"/>
                <a:gd name="T2" fmla="*/ 0 w 98"/>
                <a:gd name="T3" fmla="*/ 2147483646 h 110"/>
                <a:gd name="T4" fmla="*/ 2147483646 w 98"/>
                <a:gd name="T5" fmla="*/ 0 h 110"/>
                <a:gd name="T6" fmla="*/ 2147483646 w 98"/>
                <a:gd name="T7" fmla="*/ 2147483646 h 110"/>
                <a:gd name="T8" fmla="*/ 2147483646 w 98"/>
                <a:gd name="T9" fmla="*/ 2147483646 h 110"/>
                <a:gd name="T10" fmla="*/ 2147483646 w 98"/>
                <a:gd name="T11" fmla="*/ 2147483646 h 110"/>
                <a:gd name="T12" fmla="*/ 2147483646 w 98"/>
                <a:gd name="T13" fmla="*/ 2147483646 h 110"/>
                <a:gd name="T14" fmla="*/ 2147483646 w 98"/>
                <a:gd name="T15" fmla="*/ 2147483646 h 110"/>
                <a:gd name="T16" fmla="*/ 2147483646 w 98"/>
                <a:gd name="T17" fmla="*/ 2147483646 h 110"/>
                <a:gd name="T18" fmla="*/ 2147483646 w 98"/>
                <a:gd name="T19" fmla="*/ 2147483646 h 110"/>
                <a:gd name="T20" fmla="*/ 2147483646 w 98"/>
                <a:gd name="T21" fmla="*/ 2147483646 h 110"/>
                <a:gd name="T22" fmla="*/ 2147483646 w 98"/>
                <a:gd name="T23" fmla="*/ 2147483646 h 110"/>
                <a:gd name="T24" fmla="*/ 2147483646 w 98"/>
                <a:gd name="T25" fmla="*/ 2147483646 h 110"/>
                <a:gd name="T26" fmla="*/ 2147483646 w 98"/>
                <a:gd name="T27" fmla="*/ 2147483646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6 w 104"/>
                <a:gd name="T1" fmla="*/ 2147483646 h 111"/>
                <a:gd name="T2" fmla="*/ 0 w 104"/>
                <a:gd name="T3" fmla="*/ 2147483646 h 111"/>
                <a:gd name="T4" fmla="*/ 2147483646 w 104"/>
                <a:gd name="T5" fmla="*/ 0 h 111"/>
                <a:gd name="T6" fmla="*/ 2147483646 w 104"/>
                <a:gd name="T7" fmla="*/ 2147483646 h 111"/>
                <a:gd name="T8" fmla="*/ 2147483646 w 104"/>
                <a:gd name="T9" fmla="*/ 2147483646 h 111"/>
                <a:gd name="T10" fmla="*/ 2147483646 w 104"/>
                <a:gd name="T11" fmla="*/ 2147483646 h 111"/>
                <a:gd name="T12" fmla="*/ 2147483646 w 104"/>
                <a:gd name="T13" fmla="*/ 2147483646 h 111"/>
                <a:gd name="T14" fmla="*/ 2147483646 w 104"/>
                <a:gd name="T15" fmla="*/ 2147483646 h 111"/>
                <a:gd name="T16" fmla="*/ 2147483646 w 104"/>
                <a:gd name="T17" fmla="*/ 2147483646 h 111"/>
                <a:gd name="T18" fmla="*/ 2147483646 w 104"/>
                <a:gd name="T19" fmla="*/ 2147483646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6 h 108"/>
                <a:gd name="T2" fmla="*/ 2147483646 w 59"/>
                <a:gd name="T3" fmla="*/ 2147483646 h 108"/>
                <a:gd name="T4" fmla="*/ 2147483646 w 59"/>
                <a:gd name="T5" fmla="*/ 2147483646 h 108"/>
                <a:gd name="T6" fmla="*/ 2147483646 w 59"/>
                <a:gd name="T7" fmla="*/ 0 h 108"/>
                <a:gd name="T8" fmla="*/ 2147483646 w 59"/>
                <a:gd name="T9" fmla="*/ 2147483646 h 108"/>
                <a:gd name="T10" fmla="*/ 2147483646 w 59"/>
                <a:gd name="T11" fmla="*/ 2147483646 h 108"/>
                <a:gd name="T12" fmla="*/ 2147483646 w 59"/>
                <a:gd name="T13" fmla="*/ 2147483646 h 108"/>
                <a:gd name="T14" fmla="*/ 2147483646 w 59"/>
                <a:gd name="T15" fmla="*/ 2147483646 h 108"/>
                <a:gd name="T16" fmla="*/ 2147483646 w 59"/>
                <a:gd name="T17" fmla="*/ 2147483646 h 108"/>
                <a:gd name="T18" fmla="*/ 0 w 59"/>
                <a:gd name="T19" fmla="*/ 2147483646 h 108"/>
                <a:gd name="T20" fmla="*/ 0 w 59"/>
                <a:gd name="T21" fmla="*/ 2147483646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6 w 98"/>
                <a:gd name="T1" fmla="*/ 2147483646 h 149"/>
                <a:gd name="T2" fmla="*/ 2147483646 w 98"/>
                <a:gd name="T3" fmla="*/ 2147483646 h 149"/>
                <a:gd name="T4" fmla="*/ 2147483646 w 98"/>
                <a:gd name="T5" fmla="*/ 2147483646 h 149"/>
                <a:gd name="T6" fmla="*/ 2147483646 w 98"/>
                <a:gd name="T7" fmla="*/ 2147483646 h 149"/>
                <a:gd name="T8" fmla="*/ 2147483646 w 98"/>
                <a:gd name="T9" fmla="*/ 2147483646 h 149"/>
                <a:gd name="T10" fmla="*/ 2147483646 w 98"/>
                <a:gd name="T11" fmla="*/ 2147483646 h 149"/>
                <a:gd name="T12" fmla="*/ 2147483646 w 98"/>
                <a:gd name="T13" fmla="*/ 2147483646 h 149"/>
                <a:gd name="T14" fmla="*/ 2147483646 w 98"/>
                <a:gd name="T15" fmla="*/ 2147483646 h 149"/>
                <a:gd name="T16" fmla="*/ 2147483646 w 98"/>
                <a:gd name="T17" fmla="*/ 2147483646 h 149"/>
                <a:gd name="T18" fmla="*/ 2147483646 w 98"/>
                <a:gd name="T19" fmla="*/ 2147483646 h 149"/>
                <a:gd name="T20" fmla="*/ 2147483646 w 98"/>
                <a:gd name="T21" fmla="*/ 2147483646 h 149"/>
                <a:gd name="T22" fmla="*/ 2147483646 w 98"/>
                <a:gd name="T23" fmla="*/ 2147483646 h 149"/>
                <a:gd name="T24" fmla="*/ 2147483646 w 98"/>
                <a:gd name="T25" fmla="*/ 2147483646 h 149"/>
                <a:gd name="T26" fmla="*/ 2147483646 w 98"/>
                <a:gd name="T27" fmla="*/ 2147483646 h 149"/>
                <a:gd name="T28" fmla="*/ 2147483646 w 98"/>
                <a:gd name="T29" fmla="*/ 2147483646 h 149"/>
                <a:gd name="T30" fmla="*/ 0 w 98"/>
                <a:gd name="T31" fmla="*/ 2147483646 h 149"/>
                <a:gd name="T32" fmla="*/ 2147483646 w 98"/>
                <a:gd name="T33" fmla="*/ 0 h 149"/>
                <a:gd name="T34" fmla="*/ 2147483646 w 98"/>
                <a:gd name="T35" fmla="*/ 2147483646 h 149"/>
                <a:gd name="T36" fmla="*/ 2147483646 w 98"/>
                <a:gd name="T37" fmla="*/ 2147483646 h 149"/>
                <a:gd name="T38" fmla="*/ 2147483646 w 98"/>
                <a:gd name="T39" fmla="*/ 2147483646 h 149"/>
                <a:gd name="T40" fmla="*/ 2147483646 w 98"/>
                <a:gd name="T41" fmla="*/ 2147483646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6 w 37"/>
                <a:gd name="T1" fmla="*/ 2147483646 h 17"/>
                <a:gd name="T2" fmla="*/ 2147483646 w 37"/>
                <a:gd name="T3" fmla="*/ 2147483646 h 17"/>
                <a:gd name="T4" fmla="*/ 2147483646 w 37"/>
                <a:gd name="T5" fmla="*/ 2147483646 h 17"/>
                <a:gd name="T6" fmla="*/ 2147483646 w 37"/>
                <a:gd name="T7" fmla="*/ 2147483646 h 17"/>
                <a:gd name="T8" fmla="*/ 2147483646 w 37"/>
                <a:gd name="T9" fmla="*/ 2147483646 h 17"/>
                <a:gd name="T10" fmla="*/ 0 w 37"/>
                <a:gd name="T11" fmla="*/ 2147483646 h 17"/>
                <a:gd name="T12" fmla="*/ 0 w 37"/>
                <a:gd name="T13" fmla="*/ 0 h 17"/>
                <a:gd name="T14" fmla="*/ 2147483646 w 37"/>
                <a:gd name="T15" fmla="*/ 0 h 17"/>
                <a:gd name="T16" fmla="*/ 2147483646 w 37"/>
                <a:gd name="T17" fmla="*/ 2147483646 h 17"/>
                <a:gd name="T18" fmla="*/ 2147483646 w 37"/>
                <a:gd name="T19" fmla="*/ 2147483646 h 17"/>
                <a:gd name="T20" fmla="*/ 2147483646 w 37"/>
                <a:gd name="T21" fmla="*/ 2147483646 h 17"/>
                <a:gd name="T22" fmla="*/ 2147483646 w 37"/>
                <a:gd name="T23" fmla="*/ 2147483646 h 17"/>
                <a:gd name="T24" fmla="*/ 2147483646 w 37"/>
                <a:gd name="T25" fmla="*/ 2147483646 h 17"/>
                <a:gd name="T26" fmla="*/ 2147483646 w 37"/>
                <a:gd name="T27" fmla="*/ 2147483646 h 17"/>
                <a:gd name="T28" fmla="*/ 2147483646 w 37"/>
                <a:gd name="T29" fmla="*/ 2147483646 h 17"/>
                <a:gd name="T30" fmla="*/ 2147483646 w 37"/>
                <a:gd name="T31" fmla="*/ 2147483646 h 17"/>
                <a:gd name="T32" fmla="*/ 2147483646 w 37"/>
                <a:gd name="T33" fmla="*/ 2147483646 h 17"/>
                <a:gd name="T34" fmla="*/ 2147483646 w 37"/>
                <a:gd name="T35" fmla="*/ 2147483646 h 17"/>
                <a:gd name="T36" fmla="*/ 2147483646 w 37"/>
                <a:gd name="T37" fmla="*/ 2147483646 h 17"/>
                <a:gd name="T38" fmla="*/ 2147483646 w 37"/>
                <a:gd name="T39" fmla="*/ 0 h 17"/>
                <a:gd name="T40" fmla="*/ 2147483646 w 37"/>
                <a:gd name="T41" fmla="*/ 0 h 17"/>
                <a:gd name="T42" fmla="*/ 2147483646 w 37"/>
                <a:gd name="T43" fmla="*/ 2147483646 h 17"/>
                <a:gd name="T44" fmla="*/ 2147483646 w 37"/>
                <a:gd name="T45" fmla="*/ 0 h 17"/>
                <a:gd name="T46" fmla="*/ 2147483646 w 37"/>
                <a:gd name="T47" fmla="*/ 0 h 17"/>
                <a:gd name="T48" fmla="*/ 2147483646 w 37"/>
                <a:gd name="T49" fmla="*/ 2147483646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326" y="268289"/>
            <a:ext cx="4828498" cy="2301874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081008007"/>
      </p:ext>
    </p:extLst>
  </p:cSld>
  <p:clrMapOvr>
    <a:masterClrMapping/>
  </p:clrMapOvr>
  <p:transition spd="med">
    <p:fade/>
  </p:transition>
  <p:hf sldNum="0" hdr="0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017722653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15947132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259306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72487634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FR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3918173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6954753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378218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6642524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354447239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9165419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120623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882923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653650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483283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851273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825111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675688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EC22F227-1490-4393-91E4-0C2ECA6E02DD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53992342"/>
      </p:ext>
    </p:extLst>
  </p:cSld>
  <p:clrMapOvr>
    <a:masterClrMapping/>
  </p:clrMapOvr>
  <p:transition spd="med">
    <p:fade/>
  </p:transition>
  <p:hf sldNum="0" hdr="0" ft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13345208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976301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92256978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015912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582042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921849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806515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899577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2457631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0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15414F43-A1AF-4F43-B96D-6B28292DDD2C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59738439"/>
      </p:ext>
    </p:extLst>
  </p:cSld>
  <p:clrMapOvr>
    <a:masterClrMapping/>
  </p:clrMapOvr>
  <p:transition spd="med">
    <p:fade/>
  </p:transition>
  <p:hf sldNum="0" hdr="0" ft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745097926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10558317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330226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995576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829524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89296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231952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077173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3314605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370622EA-E640-440E-95BD-FBE958FAD398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72963042"/>
      </p:ext>
    </p:extLst>
  </p:cSld>
  <p:clrMapOvr>
    <a:masterClrMapping/>
  </p:clrMapOvr>
  <p:transition spd="med">
    <p:fade/>
  </p:transition>
  <p:hf sldNum="0" hdr="0" ft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614362732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101198234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448483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536015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023420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211605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121620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491642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539266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51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2A347540-A09B-44A2-9A02-2B130C3782B8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751200397"/>
      </p:ext>
    </p:extLst>
  </p:cSld>
  <p:clrMapOvr>
    <a:masterClrMapping/>
  </p:clrMapOvr>
  <p:transition spd="med">
    <p:fade/>
  </p:transition>
  <p:hf sldNum="0" hdr="0" ft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079349625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9769810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64873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974765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360351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888804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645483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459858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6510924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7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D79F600-6F9D-4CF8-9C5A-D876F0810580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93548662"/>
      </p:ext>
    </p:extLst>
  </p:cSld>
  <p:clrMapOvr>
    <a:masterClrMapping/>
  </p:clrMapOvr>
  <p:transition spd="med">
    <p:fade/>
  </p:transition>
  <p:hf sldNum="0" hdr="0" ft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404225191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8684730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34466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929854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472301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279017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300865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113729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1024435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4B717FAA-81B3-4B98-A7FF-18005E7890AB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785329"/>
      </p:ext>
    </p:extLst>
  </p:cSld>
  <p:clrMapOvr>
    <a:masterClrMapping/>
  </p:clrMapOvr>
  <p:transition spd="med">
    <p:fade/>
  </p:transition>
  <p:hf sldNum="0" hdr="0" ft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64945030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27832607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3398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389394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178744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471309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3195588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37384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0628439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2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75ED9957-81AC-4B30-917C-34803E7CE7E8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0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dirty="0" smtClean="0">
                <a:solidFill>
                  <a:srgbClr val="FF6600"/>
                </a:solidFill>
                <a:latin typeface="Helvetica 75 Bold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6 w 104"/>
                <a:gd name="T1" fmla="*/ 2147483646 h 122"/>
                <a:gd name="T2" fmla="*/ 2147483646 w 104"/>
                <a:gd name="T3" fmla="*/ 2147483646 h 122"/>
                <a:gd name="T4" fmla="*/ 2147483646 w 104"/>
                <a:gd name="T5" fmla="*/ 2147483646 h 122"/>
                <a:gd name="T6" fmla="*/ 2147483646 w 104"/>
                <a:gd name="T7" fmla="*/ 2147483646 h 122"/>
                <a:gd name="T8" fmla="*/ 2147483646 w 104"/>
                <a:gd name="T9" fmla="*/ 2147483646 h 122"/>
                <a:gd name="T10" fmla="*/ 2147483646 w 104"/>
                <a:gd name="T11" fmla="*/ 2147483646 h 122"/>
                <a:gd name="T12" fmla="*/ 2147483646 w 104"/>
                <a:gd name="T13" fmla="*/ 2147483646 h 122"/>
                <a:gd name="T14" fmla="*/ 0 w 104"/>
                <a:gd name="T15" fmla="*/ 2147483646 h 122"/>
                <a:gd name="T16" fmla="*/ 2147483646 w 104"/>
                <a:gd name="T17" fmla="*/ 2147483646 h 122"/>
                <a:gd name="T18" fmla="*/ 2147483646 w 104"/>
                <a:gd name="T19" fmla="*/ 2147483646 h 122"/>
                <a:gd name="T20" fmla="*/ 2147483646 w 104"/>
                <a:gd name="T21" fmla="*/ 2147483646 h 122"/>
                <a:gd name="T22" fmla="*/ 2147483646 w 104"/>
                <a:gd name="T23" fmla="*/ 2147483646 h 122"/>
                <a:gd name="T24" fmla="*/ 2147483646 w 104"/>
                <a:gd name="T25" fmla="*/ 2147483646 h 122"/>
                <a:gd name="T26" fmla="*/ 2147483646 w 104"/>
                <a:gd name="T27" fmla="*/ 0 h 122"/>
                <a:gd name="T28" fmla="*/ 2147483646 w 104"/>
                <a:gd name="T29" fmla="*/ 2147483646 h 122"/>
                <a:gd name="T30" fmla="*/ 2147483646 w 104"/>
                <a:gd name="T31" fmla="*/ 2147483646 h 122"/>
                <a:gd name="T32" fmla="*/ 2147483646 w 104"/>
                <a:gd name="T33" fmla="*/ 2147483646 h 122"/>
                <a:gd name="T34" fmla="*/ 2147483646 w 104"/>
                <a:gd name="T35" fmla="*/ 2147483646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6 h 120"/>
                <a:gd name="T2" fmla="*/ 2147483646 w 105"/>
                <a:gd name="T3" fmla="*/ 2147483646 h 120"/>
                <a:gd name="T4" fmla="*/ 2147483646 w 105"/>
                <a:gd name="T5" fmla="*/ 2147483646 h 120"/>
                <a:gd name="T6" fmla="*/ 2147483646 w 105"/>
                <a:gd name="T7" fmla="*/ 0 h 120"/>
                <a:gd name="T8" fmla="*/ 2147483646 w 105"/>
                <a:gd name="T9" fmla="*/ 2147483646 h 120"/>
                <a:gd name="T10" fmla="*/ 2147483646 w 105"/>
                <a:gd name="T11" fmla="*/ 2147483646 h 120"/>
                <a:gd name="T12" fmla="*/ 2147483646 w 105"/>
                <a:gd name="T13" fmla="*/ 2147483646 h 120"/>
                <a:gd name="T14" fmla="*/ 2147483646 w 105"/>
                <a:gd name="T15" fmla="*/ 2147483646 h 120"/>
                <a:gd name="T16" fmla="*/ 2147483646 w 105"/>
                <a:gd name="T17" fmla="*/ 2147483646 h 120"/>
                <a:gd name="T18" fmla="*/ 2147483646 w 105"/>
                <a:gd name="T19" fmla="*/ 2147483646 h 120"/>
                <a:gd name="T20" fmla="*/ 2147483646 w 105"/>
                <a:gd name="T21" fmla="*/ 2147483646 h 120"/>
                <a:gd name="T22" fmla="*/ 0 w 105"/>
                <a:gd name="T23" fmla="*/ 2147483646 h 120"/>
                <a:gd name="T24" fmla="*/ 0 w 105"/>
                <a:gd name="T25" fmla="*/ 2147483646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6 w 109"/>
                <a:gd name="T1" fmla="*/ 2147483646 h 122"/>
                <a:gd name="T2" fmla="*/ 2147483646 w 109"/>
                <a:gd name="T3" fmla="*/ 2147483646 h 122"/>
                <a:gd name="T4" fmla="*/ 2147483646 w 109"/>
                <a:gd name="T5" fmla="*/ 2147483646 h 122"/>
                <a:gd name="T6" fmla="*/ 2147483646 w 109"/>
                <a:gd name="T7" fmla="*/ 2147483646 h 122"/>
                <a:gd name="T8" fmla="*/ 2147483646 w 109"/>
                <a:gd name="T9" fmla="*/ 2147483646 h 122"/>
                <a:gd name="T10" fmla="*/ 0 w 109"/>
                <a:gd name="T11" fmla="*/ 2147483646 h 122"/>
                <a:gd name="T12" fmla="*/ 2147483646 w 109"/>
                <a:gd name="T13" fmla="*/ 0 h 122"/>
                <a:gd name="T14" fmla="*/ 2147483646 w 109"/>
                <a:gd name="T15" fmla="*/ 2147483646 h 122"/>
                <a:gd name="T16" fmla="*/ 2147483646 w 109"/>
                <a:gd name="T17" fmla="*/ 2147483646 h 122"/>
                <a:gd name="T18" fmla="*/ 2147483646 w 109"/>
                <a:gd name="T19" fmla="*/ 2147483646 h 122"/>
                <a:gd name="T20" fmla="*/ 2147483646 w 109"/>
                <a:gd name="T21" fmla="*/ 2147483646 h 122"/>
                <a:gd name="T22" fmla="*/ 2147483646 w 109"/>
                <a:gd name="T23" fmla="*/ 2147483646 h 122"/>
                <a:gd name="T24" fmla="*/ 2147483646 w 109"/>
                <a:gd name="T25" fmla="*/ 2147483646 h 122"/>
                <a:gd name="T26" fmla="*/ 2147483646 w 109"/>
                <a:gd name="T27" fmla="*/ 2147483646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6 w 116"/>
                <a:gd name="T1" fmla="*/ 2147483646 h 124"/>
                <a:gd name="T2" fmla="*/ 2147483646 w 116"/>
                <a:gd name="T3" fmla="*/ 2147483646 h 124"/>
                <a:gd name="T4" fmla="*/ 2147483646 w 116"/>
                <a:gd name="T5" fmla="*/ 2147483646 h 124"/>
                <a:gd name="T6" fmla="*/ 2147483646 w 116"/>
                <a:gd name="T7" fmla="*/ 2147483646 h 124"/>
                <a:gd name="T8" fmla="*/ 2147483646 w 116"/>
                <a:gd name="T9" fmla="*/ 2147483646 h 124"/>
                <a:gd name="T10" fmla="*/ 2147483646 w 116"/>
                <a:gd name="T11" fmla="*/ 2147483646 h 124"/>
                <a:gd name="T12" fmla="*/ 0 w 116"/>
                <a:gd name="T13" fmla="*/ 2147483646 h 124"/>
                <a:gd name="T14" fmla="*/ 2147483646 w 116"/>
                <a:gd name="T15" fmla="*/ 0 h 124"/>
                <a:gd name="T16" fmla="*/ 2147483646 w 116"/>
                <a:gd name="T17" fmla="*/ 2147483646 h 124"/>
                <a:gd name="T18" fmla="*/ 2147483646 w 116"/>
                <a:gd name="T19" fmla="*/ 2147483646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6 h 120"/>
                <a:gd name="T2" fmla="*/ 2147483646 w 66"/>
                <a:gd name="T3" fmla="*/ 2147483646 h 120"/>
                <a:gd name="T4" fmla="*/ 2147483646 w 66"/>
                <a:gd name="T5" fmla="*/ 2147483646 h 120"/>
                <a:gd name="T6" fmla="*/ 2147483646 w 66"/>
                <a:gd name="T7" fmla="*/ 0 h 120"/>
                <a:gd name="T8" fmla="*/ 2147483646 w 66"/>
                <a:gd name="T9" fmla="*/ 2147483646 h 120"/>
                <a:gd name="T10" fmla="*/ 2147483646 w 66"/>
                <a:gd name="T11" fmla="*/ 2147483646 h 120"/>
                <a:gd name="T12" fmla="*/ 2147483646 w 66"/>
                <a:gd name="T13" fmla="*/ 2147483646 h 120"/>
                <a:gd name="T14" fmla="*/ 2147483646 w 66"/>
                <a:gd name="T15" fmla="*/ 2147483646 h 120"/>
                <a:gd name="T16" fmla="*/ 2147483646 w 66"/>
                <a:gd name="T17" fmla="*/ 2147483646 h 120"/>
                <a:gd name="T18" fmla="*/ 0 w 66"/>
                <a:gd name="T19" fmla="*/ 2147483646 h 120"/>
                <a:gd name="T20" fmla="*/ 0 w 66"/>
                <a:gd name="T21" fmla="*/ 2147483646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6 w 110"/>
                <a:gd name="T1" fmla="*/ 2147483646 h 166"/>
                <a:gd name="T2" fmla="*/ 2147483646 w 110"/>
                <a:gd name="T3" fmla="*/ 2147483646 h 166"/>
                <a:gd name="T4" fmla="*/ 2147483646 w 110"/>
                <a:gd name="T5" fmla="*/ 2147483646 h 166"/>
                <a:gd name="T6" fmla="*/ 2147483646 w 110"/>
                <a:gd name="T7" fmla="*/ 2147483646 h 166"/>
                <a:gd name="T8" fmla="*/ 2147483646 w 110"/>
                <a:gd name="T9" fmla="*/ 2147483646 h 166"/>
                <a:gd name="T10" fmla="*/ 2147483646 w 110"/>
                <a:gd name="T11" fmla="*/ 2147483646 h 166"/>
                <a:gd name="T12" fmla="*/ 2147483646 w 110"/>
                <a:gd name="T13" fmla="*/ 2147483646 h 166"/>
                <a:gd name="T14" fmla="*/ 2147483646 w 110"/>
                <a:gd name="T15" fmla="*/ 2147483646 h 166"/>
                <a:gd name="T16" fmla="*/ 2147483646 w 110"/>
                <a:gd name="T17" fmla="*/ 2147483646 h 166"/>
                <a:gd name="T18" fmla="*/ 2147483646 w 110"/>
                <a:gd name="T19" fmla="*/ 2147483646 h 166"/>
                <a:gd name="T20" fmla="*/ 0 w 110"/>
                <a:gd name="T21" fmla="*/ 2147483646 h 166"/>
                <a:gd name="T22" fmla="*/ 2147483646 w 110"/>
                <a:gd name="T23" fmla="*/ 0 h 166"/>
                <a:gd name="T24" fmla="*/ 2147483646 w 110"/>
                <a:gd name="T25" fmla="*/ 2147483646 h 166"/>
                <a:gd name="T26" fmla="*/ 2147483646 w 110"/>
                <a:gd name="T27" fmla="*/ 2147483646 h 166"/>
                <a:gd name="T28" fmla="*/ 2147483646 w 110"/>
                <a:gd name="T29" fmla="*/ 2147483646 h 166"/>
                <a:gd name="T30" fmla="*/ 2147483646 w 110"/>
                <a:gd name="T31" fmla="*/ 2147483646 h 166"/>
                <a:gd name="T32" fmla="*/ 2147483646 w 110"/>
                <a:gd name="T33" fmla="*/ 2147483646 h 166"/>
                <a:gd name="T34" fmla="*/ 2147483646 w 110"/>
                <a:gd name="T35" fmla="*/ 2147483646 h 166"/>
                <a:gd name="T36" fmla="*/ 2147483646 w 110"/>
                <a:gd name="T37" fmla="*/ 2147483646 h 166"/>
                <a:gd name="T38" fmla="*/ 2147483646 w 110"/>
                <a:gd name="T39" fmla="*/ 2147483646 h 166"/>
                <a:gd name="T40" fmla="*/ 2147483646 w 110"/>
                <a:gd name="T41" fmla="*/ 214748364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6 w 195"/>
                <a:gd name="T1" fmla="*/ 2147483646 h 92"/>
                <a:gd name="T2" fmla="*/ 2147483646 w 195"/>
                <a:gd name="T3" fmla="*/ 2147483646 h 92"/>
                <a:gd name="T4" fmla="*/ 2147483646 w 195"/>
                <a:gd name="T5" fmla="*/ 2147483646 h 92"/>
                <a:gd name="T6" fmla="*/ 2147483646 w 195"/>
                <a:gd name="T7" fmla="*/ 2147483646 h 92"/>
                <a:gd name="T8" fmla="*/ 2147483646 w 195"/>
                <a:gd name="T9" fmla="*/ 2147483646 h 92"/>
                <a:gd name="T10" fmla="*/ 2147483646 w 195"/>
                <a:gd name="T11" fmla="*/ 2147483646 h 92"/>
                <a:gd name="T12" fmla="*/ 2147483646 w 195"/>
                <a:gd name="T13" fmla="*/ 2147483646 h 92"/>
                <a:gd name="T14" fmla="*/ 2147483646 w 195"/>
                <a:gd name="T15" fmla="*/ 2147483646 h 92"/>
                <a:gd name="T16" fmla="*/ 2147483646 w 195"/>
                <a:gd name="T17" fmla="*/ 2147483646 h 92"/>
                <a:gd name="T18" fmla="*/ 2147483646 w 195"/>
                <a:gd name="T19" fmla="*/ 2147483646 h 92"/>
                <a:gd name="T20" fmla="*/ 2147483646 w 195"/>
                <a:gd name="T21" fmla="*/ 0 h 92"/>
                <a:gd name="T22" fmla="*/ 2147483646 w 195"/>
                <a:gd name="T23" fmla="*/ 0 h 92"/>
                <a:gd name="T24" fmla="*/ 2147483646 w 195"/>
                <a:gd name="T25" fmla="*/ 2147483646 h 92"/>
                <a:gd name="T26" fmla="*/ 2147483646 w 195"/>
                <a:gd name="T27" fmla="*/ 0 h 92"/>
                <a:gd name="T28" fmla="*/ 2147483646 w 195"/>
                <a:gd name="T29" fmla="*/ 0 h 92"/>
                <a:gd name="T30" fmla="*/ 2147483646 w 195"/>
                <a:gd name="T31" fmla="*/ 2147483646 h 92"/>
                <a:gd name="T32" fmla="*/ 2147483646 w 195"/>
                <a:gd name="T33" fmla="*/ 2147483646 h 92"/>
                <a:gd name="T34" fmla="*/ 2147483646 w 195"/>
                <a:gd name="T35" fmla="*/ 2147483646 h 92"/>
                <a:gd name="T36" fmla="*/ 2147483646 w 195"/>
                <a:gd name="T37" fmla="*/ 2147483646 h 92"/>
                <a:gd name="T38" fmla="*/ 2147483646 w 195"/>
                <a:gd name="T39" fmla="*/ 2147483646 h 92"/>
                <a:gd name="T40" fmla="*/ 2147483646 w 195"/>
                <a:gd name="T41" fmla="*/ 2147483646 h 92"/>
                <a:gd name="T42" fmla="*/ 0 w 195"/>
                <a:gd name="T43" fmla="*/ 2147483646 h 92"/>
                <a:gd name="T44" fmla="*/ 0 w 195"/>
                <a:gd name="T45" fmla="*/ 0 h 92"/>
                <a:gd name="T46" fmla="*/ 2147483646 w 195"/>
                <a:gd name="T47" fmla="*/ 0 h 92"/>
                <a:gd name="T48" fmla="*/ 2147483646 w 195"/>
                <a:gd name="T49" fmla="*/ 2147483646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108766058"/>
      </p:ext>
    </p:extLst>
  </p:cSld>
  <p:clrMapOvr>
    <a:masterClrMapping/>
  </p:clrMapOvr>
  <p:transition spd="med">
    <p:fade/>
  </p:transition>
  <p:hf sldNum="0" hdr="0" ftr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64969905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926385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228290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58078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14826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97734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765181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ags" Target="../tags/tag39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ags" Target="../tags/tag38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vmlDrawing" Target="../drawings/vmlDrawing19.v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.emf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oleObject" Target="../embeddings/oleObject19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tags" Target="../tags/tag43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ags" Target="../tags/tag42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vmlDrawing" Target="../drawings/vmlDrawing21.v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1.emf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oleObject" Target="../embeddings/oleObject21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ags" Target="../tags/tag47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tags" Target="../tags/tag46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vmlDrawing" Target="../drawings/vmlDrawing23.v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1.emf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oleObject" Target="../embeddings/oleObject23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ags" Target="../tags/tag51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ags" Target="../tags/tag50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vmlDrawing" Target="../drawings/vmlDrawing25.vml"/><Relationship Id="rId5" Type="http://schemas.openxmlformats.org/officeDocument/2006/relationships/slideLayout" Target="../slideLayouts/slideLayout114.xml"/><Relationship Id="rId15" Type="http://schemas.openxmlformats.org/officeDocument/2006/relationships/image" Target="../media/image1.emf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oleObject" Target="../embeddings/oleObject25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tags" Target="../tags/tag55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tags" Target="../tags/tag54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vmlDrawing" Target="../drawings/vmlDrawing27.vml"/><Relationship Id="rId5" Type="http://schemas.openxmlformats.org/officeDocument/2006/relationships/slideLayout" Target="../slideLayouts/slideLayout123.xml"/><Relationship Id="rId15" Type="http://schemas.openxmlformats.org/officeDocument/2006/relationships/image" Target="../media/image1.emf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oleObject" Target="../embeddings/oleObject27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tags" Target="../tags/tag59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ags" Target="../tags/tag58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vmlDrawing" Target="../drawings/vmlDrawing29.vml"/><Relationship Id="rId5" Type="http://schemas.openxmlformats.org/officeDocument/2006/relationships/slideLayout" Target="../slideLayouts/slideLayout132.xml"/><Relationship Id="rId15" Type="http://schemas.openxmlformats.org/officeDocument/2006/relationships/image" Target="../media/image1.emf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oleObject" Target="../embeddings/oleObject29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tags" Target="../tags/tag63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tags" Target="../tags/tag62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vmlDrawing" Target="../drawings/vmlDrawing31.v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1.emf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oleObject" Target="../embeddings/oleObject31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tags" Target="../tags/tag67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tags" Target="../tags/tag66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vmlDrawing" Target="../drawings/vmlDrawing33.vml"/><Relationship Id="rId5" Type="http://schemas.openxmlformats.org/officeDocument/2006/relationships/slideLayout" Target="../slideLayouts/slideLayout150.xml"/><Relationship Id="rId15" Type="http://schemas.openxmlformats.org/officeDocument/2006/relationships/image" Target="../media/image1.emf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oleObject" Target="../embeddings/oleObject33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ags" Target="../tags/tag71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ags" Target="../tags/tag70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vmlDrawing" Target="../drawings/vmlDrawing35.vml"/><Relationship Id="rId5" Type="http://schemas.openxmlformats.org/officeDocument/2006/relationships/slideLayout" Target="../slideLayouts/slideLayout159.xml"/><Relationship Id="rId15" Type="http://schemas.openxmlformats.org/officeDocument/2006/relationships/image" Target="../media/image1.emf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oleObject" Target="../embeddings/oleObject35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tags" Target="../tags/tag75.xml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ags" Target="../tags/tag74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vmlDrawing" Target="../drawings/vmlDrawing37.vml"/><Relationship Id="rId5" Type="http://schemas.openxmlformats.org/officeDocument/2006/relationships/slideLayout" Target="../slideLayouts/slideLayout168.xml"/><Relationship Id="rId15" Type="http://schemas.openxmlformats.org/officeDocument/2006/relationships/image" Target="../media/image1.emf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oleObject" Target="../embeddings/oleObject37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3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tags" Target="../tags/tag79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ags" Target="../tags/tag78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vmlDrawing" Target="../drawings/vmlDrawing39.vml"/><Relationship Id="rId5" Type="http://schemas.openxmlformats.org/officeDocument/2006/relationships/slideLayout" Target="../slideLayouts/slideLayout177.xml"/><Relationship Id="rId15" Type="http://schemas.openxmlformats.org/officeDocument/2006/relationships/image" Target="../media/image1.emf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oleObject" Target="../embeddings/oleObject39.bin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tags" Target="../tags/tag83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tags" Target="../tags/tag82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vmlDrawing" Target="../drawings/vmlDrawing41.vml"/><Relationship Id="rId5" Type="http://schemas.openxmlformats.org/officeDocument/2006/relationships/slideLayout" Target="../slideLayouts/slideLayout186.xml"/><Relationship Id="rId15" Type="http://schemas.openxmlformats.org/officeDocument/2006/relationships/image" Target="../media/image1.emf"/><Relationship Id="rId10" Type="http://schemas.openxmlformats.org/officeDocument/2006/relationships/theme" Target="../theme/theme2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oleObject" Target="../embeddings/oleObject41.bin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tags" Target="../tags/tag87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tags" Target="../tags/tag86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vmlDrawing" Target="../drawings/vmlDrawing43.vml"/><Relationship Id="rId5" Type="http://schemas.openxmlformats.org/officeDocument/2006/relationships/slideLayout" Target="../slideLayouts/slideLayout195.xml"/><Relationship Id="rId15" Type="http://schemas.openxmlformats.org/officeDocument/2006/relationships/image" Target="../media/image1.emf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oleObject" Target="../embeddings/oleObject43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oleObject" Target="../embeddings/oleObject45.bin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ags" Target="../tags/tag91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tags" Target="../tags/tag90.xml"/><Relationship Id="rId5" Type="http://schemas.openxmlformats.org/officeDocument/2006/relationships/slideLayout" Target="../slideLayouts/slideLayout204.xml"/><Relationship Id="rId10" Type="http://schemas.openxmlformats.org/officeDocument/2006/relationships/vmlDrawing" Target="../drawings/vmlDrawing45.vml"/><Relationship Id="rId4" Type="http://schemas.openxmlformats.org/officeDocument/2006/relationships/slideLayout" Target="../slideLayouts/slideLayout203.xml"/><Relationship Id="rId9" Type="http://schemas.openxmlformats.org/officeDocument/2006/relationships/theme" Target="../theme/theme23.xml"/><Relationship Id="rId14" Type="http://schemas.openxmlformats.org/officeDocument/2006/relationships/image" Target="../media/image1.emf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oleObject" Target="../embeddings/oleObject52.bin"/><Relationship Id="rId3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214.xml"/><Relationship Id="rId12" Type="http://schemas.openxmlformats.org/officeDocument/2006/relationships/tags" Target="../tags/tag105.xml"/><Relationship Id="rId2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tags" Target="../tags/tag104.xml"/><Relationship Id="rId5" Type="http://schemas.openxmlformats.org/officeDocument/2006/relationships/slideLayout" Target="../slideLayouts/slideLayout212.xml"/><Relationship Id="rId10" Type="http://schemas.openxmlformats.org/officeDocument/2006/relationships/vmlDrawing" Target="../drawings/vmlDrawing52.vml"/><Relationship Id="rId4" Type="http://schemas.openxmlformats.org/officeDocument/2006/relationships/slideLayout" Target="../slideLayouts/slideLayout211.xml"/><Relationship Id="rId9" Type="http://schemas.openxmlformats.org/officeDocument/2006/relationships/theme" Target="../theme/theme24.xml"/><Relationship Id="rId14" Type="http://schemas.openxmlformats.org/officeDocument/2006/relationships/image" Target="../media/image1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13" Type="http://schemas.openxmlformats.org/officeDocument/2006/relationships/oleObject" Target="../embeddings/oleObject60.bin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12" Type="http://schemas.openxmlformats.org/officeDocument/2006/relationships/tags" Target="../tags/tag121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tags" Target="../tags/tag120.xml"/><Relationship Id="rId5" Type="http://schemas.openxmlformats.org/officeDocument/2006/relationships/slideLayout" Target="../slideLayouts/slideLayout220.xml"/><Relationship Id="rId10" Type="http://schemas.openxmlformats.org/officeDocument/2006/relationships/vmlDrawing" Target="../drawings/vmlDrawing60.vml"/><Relationship Id="rId4" Type="http://schemas.openxmlformats.org/officeDocument/2006/relationships/slideLayout" Target="../slideLayouts/slideLayout219.xml"/><Relationship Id="rId9" Type="http://schemas.openxmlformats.org/officeDocument/2006/relationships/theme" Target="../theme/theme25.xml"/><Relationship Id="rId14" Type="http://schemas.openxmlformats.org/officeDocument/2006/relationships/image" Target="../media/image1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tags" Target="../tags/tag134.xml"/><Relationship Id="rId3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230.xml"/><Relationship Id="rId12" Type="http://schemas.openxmlformats.org/officeDocument/2006/relationships/vmlDrawing" Target="../drawings/vmlDrawing67.vml"/><Relationship Id="rId2" Type="http://schemas.openxmlformats.org/officeDocument/2006/relationships/slideLayout" Target="../slideLayouts/slideLayout22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theme" Target="../theme/theme26.xml"/><Relationship Id="rId5" Type="http://schemas.openxmlformats.org/officeDocument/2006/relationships/slideLayout" Target="../slideLayouts/slideLayout228.xml"/><Relationship Id="rId15" Type="http://schemas.openxmlformats.org/officeDocument/2006/relationships/oleObject" Target="../embeddings/oleObject67.bin"/><Relationship Id="rId10" Type="http://schemas.openxmlformats.org/officeDocument/2006/relationships/slideLayout" Target="../slideLayouts/slideLayout233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tags" Target="../tags/tag135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slideLayout" Target="../slideLayouts/slideLayout236.xml"/><Relationship Id="rId7" Type="http://schemas.openxmlformats.org/officeDocument/2006/relationships/tags" Target="../tags/tag140.xml"/><Relationship Id="rId2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34.xml"/><Relationship Id="rId6" Type="http://schemas.openxmlformats.org/officeDocument/2006/relationships/vmlDrawing" Target="../drawings/vmlDrawing70.vml"/><Relationship Id="rId5" Type="http://schemas.openxmlformats.org/officeDocument/2006/relationships/theme" Target="../theme/theme27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237.xml"/><Relationship Id="rId9" Type="http://schemas.openxmlformats.org/officeDocument/2006/relationships/oleObject" Target="../embeddings/oleObject70.bin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slideLayout" Target="../slideLayouts/slideLayout240.xml"/><Relationship Id="rId7" Type="http://schemas.openxmlformats.org/officeDocument/2006/relationships/tags" Target="../tags/tag144.xml"/><Relationship Id="rId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38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28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241.xml"/><Relationship Id="rId9" Type="http://schemas.openxmlformats.org/officeDocument/2006/relationships/oleObject" Target="../embeddings/oleObject72.bin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vmlDrawing" Target="../drawings/vmlDrawing74.vml"/><Relationship Id="rId3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8.xml"/><Relationship Id="rId12" Type="http://schemas.openxmlformats.org/officeDocument/2006/relationships/theme" Target="../theme/theme29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43.xml"/><Relationship Id="rId16" Type="http://schemas.openxmlformats.org/officeDocument/2006/relationships/oleObject" Target="../embeddings/oleObject74.bin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5" Type="http://schemas.openxmlformats.org/officeDocument/2006/relationships/tags" Target="../tags/tag149.xml"/><Relationship Id="rId10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tags" Target="../tags/tag14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1.e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oleObject" Target="../embeddings/oleObject5.bin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13" Type="http://schemas.openxmlformats.org/officeDocument/2006/relationships/tags" Target="../tags/tag156.xml"/><Relationship Id="rId3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259.xml"/><Relationship Id="rId12" Type="http://schemas.openxmlformats.org/officeDocument/2006/relationships/vmlDrawing" Target="../drawings/vmlDrawing78.vml"/><Relationship Id="rId2" Type="http://schemas.openxmlformats.org/officeDocument/2006/relationships/slideLayout" Target="../slideLayouts/slideLayout25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theme" Target="../theme/theme30.xml"/><Relationship Id="rId5" Type="http://schemas.openxmlformats.org/officeDocument/2006/relationships/slideLayout" Target="../slideLayouts/slideLayout257.xml"/><Relationship Id="rId15" Type="http://schemas.openxmlformats.org/officeDocument/2006/relationships/oleObject" Target="../embeddings/oleObject78.bin"/><Relationship Id="rId10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Relationship Id="rId14" Type="http://schemas.openxmlformats.org/officeDocument/2006/relationships/tags" Target="../tags/tag157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0.xml"/><Relationship Id="rId13" Type="http://schemas.openxmlformats.org/officeDocument/2006/relationships/tags" Target="../tags/tag160.xml"/><Relationship Id="rId3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69.xml"/><Relationship Id="rId12" Type="http://schemas.openxmlformats.org/officeDocument/2006/relationships/vmlDrawing" Target="../drawings/vmlDrawing80.vml"/><Relationship Id="rId2" Type="http://schemas.openxmlformats.org/officeDocument/2006/relationships/slideLayout" Target="../slideLayouts/slideLayout26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theme" Target="../theme/theme31.xml"/><Relationship Id="rId5" Type="http://schemas.openxmlformats.org/officeDocument/2006/relationships/slideLayout" Target="../slideLayouts/slideLayout267.xml"/><Relationship Id="rId15" Type="http://schemas.openxmlformats.org/officeDocument/2006/relationships/oleObject" Target="../embeddings/oleObject80.bin"/><Relationship Id="rId10" Type="http://schemas.openxmlformats.org/officeDocument/2006/relationships/slideLayout" Target="../slideLayouts/slideLayout272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tags" Target="../tags/tag161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tags" Target="../tags/tag166.x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vmlDrawing" Target="../drawings/vmlDrawing83.vml"/><Relationship Id="rId2" Type="http://schemas.openxmlformats.org/officeDocument/2006/relationships/slideLayout" Target="../slideLayouts/slideLayout27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heme" Target="../theme/theme32.xml"/><Relationship Id="rId5" Type="http://schemas.openxmlformats.org/officeDocument/2006/relationships/slideLayout" Target="../slideLayouts/slideLayout277.xml"/><Relationship Id="rId15" Type="http://schemas.openxmlformats.org/officeDocument/2006/relationships/oleObject" Target="../embeddings/oleObject83.bin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tags" Target="../tags/tag167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0.xml"/><Relationship Id="rId13" Type="http://schemas.openxmlformats.org/officeDocument/2006/relationships/oleObject" Target="../embeddings/oleObject91.bin"/><Relationship Id="rId3" Type="http://schemas.openxmlformats.org/officeDocument/2006/relationships/slideLayout" Target="../slideLayouts/slideLayout285.xml"/><Relationship Id="rId7" Type="http://schemas.openxmlformats.org/officeDocument/2006/relationships/slideLayout" Target="../slideLayouts/slideLayout289.xml"/><Relationship Id="rId12" Type="http://schemas.openxmlformats.org/officeDocument/2006/relationships/tags" Target="../tags/tag183.xml"/><Relationship Id="rId2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287.xml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286.xml"/><Relationship Id="rId9" Type="http://schemas.openxmlformats.org/officeDocument/2006/relationships/theme" Target="../theme/theme33.xml"/><Relationship Id="rId14" Type="http://schemas.openxmlformats.org/officeDocument/2006/relationships/image" Target="../media/image1.emf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8.xml"/><Relationship Id="rId13" Type="http://schemas.openxmlformats.org/officeDocument/2006/relationships/tags" Target="../tags/tag197.xml"/><Relationship Id="rId3" Type="http://schemas.openxmlformats.org/officeDocument/2006/relationships/slideLayout" Target="../slideLayouts/slideLayout293.xml"/><Relationship Id="rId7" Type="http://schemas.openxmlformats.org/officeDocument/2006/relationships/slideLayout" Target="../slideLayouts/slideLayout297.xml"/><Relationship Id="rId12" Type="http://schemas.openxmlformats.org/officeDocument/2006/relationships/tags" Target="../tags/tag196.xml"/><Relationship Id="rId2" Type="http://schemas.openxmlformats.org/officeDocument/2006/relationships/slideLayout" Target="../slideLayouts/slideLayout292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vmlDrawing" Target="../drawings/vmlDrawing98.vml"/><Relationship Id="rId5" Type="http://schemas.openxmlformats.org/officeDocument/2006/relationships/slideLayout" Target="../slideLayouts/slideLayout295.xml"/><Relationship Id="rId15" Type="http://schemas.openxmlformats.org/officeDocument/2006/relationships/image" Target="../media/image4.emf"/><Relationship Id="rId10" Type="http://schemas.openxmlformats.org/officeDocument/2006/relationships/theme" Target="../theme/theme34.xml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oleObject" Target="../embeddings/oleObject98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ags" Target="../tags/tag15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.emf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19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18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.emf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23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vmlDrawing" Target="../drawings/vmlDrawing11.v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oleObject" Target="../embeddings/oleObject1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ags" Target="../tags/tag2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1.emf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oleObject" Target="../embeddings/oleObject13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ags" Target="../tags/tag31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ags" Target="../tags/tag30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vmlDrawing" Target="../drawings/vmlDrawing15.v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1.emf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ags" Target="../tags/tag35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ags" Target="../tags/tag34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vmlDrawing" Target="../drawings/vmlDrawing17.vml"/><Relationship Id="rId5" Type="http://schemas.openxmlformats.org/officeDocument/2006/relationships/slideLayout" Target="../slideLayouts/slideLayout78.xml"/><Relationship Id="rId15" Type="http://schemas.openxmlformats.org/officeDocument/2006/relationships/image" Target="../media/image1.emf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oleObject" Target="../embeddings/oleObject1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 2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70503E2D-347D-4666-BA85-6A551626CF03}" type="slidenum">
              <a:rPr lang="en-GB" altLang="fr-FR" sz="800" smtClean="0"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17" r:id="rId1"/>
    <p:sldLayoutId id="2147501200" r:id="rId2"/>
    <p:sldLayoutId id="2147501201" r:id="rId3"/>
    <p:sldLayoutId id="2147501202" r:id="rId4"/>
    <p:sldLayoutId id="2147501203" r:id="rId5"/>
    <p:sldLayoutId id="2147501204" r:id="rId6"/>
    <p:sldLayoutId id="2147501205" r:id="rId7"/>
    <p:sldLayoutId id="2147501206" r:id="rId8"/>
    <p:sldLayoutId id="2147501207" r:id="rId9"/>
    <p:sldLayoutId id="2147501418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024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024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BB06F477-C122-478A-BBC0-01C8ED60A8A3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7" r:id="rId1"/>
    <p:sldLayoutId id="2147501272" r:id="rId2"/>
    <p:sldLayoutId id="2147501273" r:id="rId3"/>
    <p:sldLayoutId id="2147501274" r:id="rId4"/>
    <p:sldLayoutId id="2147501275" r:id="rId5"/>
    <p:sldLayoutId id="2147501276" r:id="rId6"/>
    <p:sldLayoutId id="2147501277" r:id="rId7"/>
    <p:sldLayoutId id="2147501278" r:id="rId8"/>
    <p:sldLayoutId id="2147501279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126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126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2C6C80FC-8B10-4B25-B1E5-0F3A3F231A1C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8" r:id="rId1"/>
    <p:sldLayoutId id="2147501280" r:id="rId2"/>
    <p:sldLayoutId id="2147501281" r:id="rId3"/>
    <p:sldLayoutId id="2147501282" r:id="rId4"/>
    <p:sldLayoutId id="2147501283" r:id="rId5"/>
    <p:sldLayoutId id="2147501284" r:id="rId6"/>
    <p:sldLayoutId id="2147501285" r:id="rId7"/>
    <p:sldLayoutId id="2147501286" r:id="rId8"/>
    <p:sldLayoutId id="2147501287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229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229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9" r:id="rId1"/>
    <p:sldLayoutId id="2147501288" r:id="rId2"/>
    <p:sldLayoutId id="2147501289" r:id="rId3"/>
    <p:sldLayoutId id="2147501290" r:id="rId4"/>
    <p:sldLayoutId id="2147501291" r:id="rId5"/>
    <p:sldLayoutId id="2147501292" r:id="rId6"/>
    <p:sldLayoutId id="2147501293" r:id="rId7"/>
    <p:sldLayoutId id="2147501294" r:id="rId8"/>
    <p:sldLayoutId id="2147501295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331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331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A1EF5402-77CC-4886-9A18-49BF5DF9C7E4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0" r:id="rId1"/>
    <p:sldLayoutId id="2147501296" r:id="rId2"/>
    <p:sldLayoutId id="2147501297" r:id="rId3"/>
    <p:sldLayoutId id="2147501298" r:id="rId4"/>
    <p:sldLayoutId id="2147501299" r:id="rId5"/>
    <p:sldLayoutId id="2147501300" r:id="rId6"/>
    <p:sldLayoutId id="2147501301" r:id="rId7"/>
    <p:sldLayoutId id="2147501302" r:id="rId8"/>
    <p:sldLayoutId id="2147501303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434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434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8C910CE2-006F-41A5-BB08-59C024C9CCCF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1" r:id="rId1"/>
    <p:sldLayoutId id="2147501304" r:id="rId2"/>
    <p:sldLayoutId id="2147501305" r:id="rId3"/>
    <p:sldLayoutId id="2147501306" r:id="rId4"/>
    <p:sldLayoutId id="2147501307" r:id="rId5"/>
    <p:sldLayoutId id="2147501308" r:id="rId6"/>
    <p:sldLayoutId id="2147501309" r:id="rId7"/>
    <p:sldLayoutId id="2147501310" r:id="rId8"/>
    <p:sldLayoutId id="2147501311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536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536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0FA1C643-598C-4A1B-9553-C537C2D2EA70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2" r:id="rId1"/>
    <p:sldLayoutId id="2147501312" r:id="rId2"/>
    <p:sldLayoutId id="2147501313" r:id="rId3"/>
    <p:sldLayoutId id="2147501314" r:id="rId4"/>
    <p:sldLayoutId id="2147501315" r:id="rId5"/>
    <p:sldLayoutId id="2147501316" r:id="rId6"/>
    <p:sldLayoutId id="2147501317" r:id="rId7"/>
    <p:sldLayoutId id="2147501318" r:id="rId8"/>
    <p:sldLayoutId id="2147501319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638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638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8A9C03D-45EA-4751-9AFA-75977CAF97F7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3" r:id="rId1"/>
    <p:sldLayoutId id="2147501320" r:id="rId2"/>
    <p:sldLayoutId id="2147501321" r:id="rId3"/>
    <p:sldLayoutId id="2147501322" r:id="rId4"/>
    <p:sldLayoutId id="2147501323" r:id="rId5"/>
    <p:sldLayoutId id="2147501324" r:id="rId6"/>
    <p:sldLayoutId id="2147501325" r:id="rId7"/>
    <p:sldLayoutId id="2147501326" r:id="rId8"/>
    <p:sldLayoutId id="2147501327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741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741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11B04D51-D03E-43DB-9AE3-02EC1DFE8FA2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4" r:id="rId1"/>
    <p:sldLayoutId id="2147501328" r:id="rId2"/>
    <p:sldLayoutId id="2147501329" r:id="rId3"/>
    <p:sldLayoutId id="2147501330" r:id="rId4"/>
    <p:sldLayoutId id="2147501331" r:id="rId5"/>
    <p:sldLayoutId id="2147501332" r:id="rId6"/>
    <p:sldLayoutId id="2147501333" r:id="rId7"/>
    <p:sldLayoutId id="2147501334" r:id="rId8"/>
    <p:sldLayoutId id="2147501335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843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843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5" r:id="rId1"/>
    <p:sldLayoutId id="2147501336" r:id="rId2"/>
    <p:sldLayoutId id="2147501337" r:id="rId3"/>
    <p:sldLayoutId id="2147501338" r:id="rId4"/>
    <p:sldLayoutId id="2147501339" r:id="rId5"/>
    <p:sldLayoutId id="2147501340" r:id="rId6"/>
    <p:sldLayoutId id="2147501341" r:id="rId7"/>
    <p:sldLayoutId id="2147501342" r:id="rId8"/>
    <p:sldLayoutId id="2147501343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0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946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946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6" r:id="rId1"/>
    <p:sldLayoutId id="2147501344" r:id="rId2"/>
    <p:sldLayoutId id="2147501345" r:id="rId3"/>
    <p:sldLayoutId id="2147501346" r:id="rId4"/>
    <p:sldLayoutId id="2147501347" r:id="rId5"/>
    <p:sldLayoutId id="2147501348" r:id="rId6"/>
    <p:sldLayoutId id="2147501349" r:id="rId7"/>
    <p:sldLayoutId id="2147501350" r:id="rId8"/>
    <p:sldLayoutId id="2147501351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689975" y="4684713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7858A30E-5330-48F1-AD0C-CB36120C3906}" type="slidenum">
              <a:rPr lang="en-GB" altLang="fr-FR" sz="800" smtClean="0">
                <a:solidFill>
                  <a:schemeClr val="bg1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chemeClr val="bg1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36550" y="4679950"/>
            <a:ext cx="8470900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19" r:id="rId1"/>
    <p:sldLayoutId id="2147501208" r:id="rId2"/>
    <p:sldLayoutId id="2147501209" r:id="rId3"/>
    <p:sldLayoutId id="2147501210" r:id="rId4"/>
    <p:sldLayoutId id="2147501211" r:id="rId5"/>
    <p:sldLayoutId id="2147501212" r:id="rId6"/>
    <p:sldLayoutId id="2147501213" r:id="rId7"/>
    <p:sldLayoutId id="2147501214" r:id="rId8"/>
    <p:sldLayoutId id="2147501215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2048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048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486D451-D257-46DC-BFA6-E680D3961F26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7" r:id="rId1"/>
    <p:sldLayoutId id="2147501352" r:id="rId2"/>
    <p:sldLayoutId id="2147501353" r:id="rId3"/>
    <p:sldLayoutId id="2147501354" r:id="rId4"/>
    <p:sldLayoutId id="2147501355" r:id="rId5"/>
    <p:sldLayoutId id="2147501356" r:id="rId6"/>
    <p:sldLayoutId id="2147501357" r:id="rId7"/>
    <p:sldLayoutId id="2147501358" r:id="rId8"/>
    <p:sldLayoutId id="2147501359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9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2150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150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64F40D43-188A-4762-A398-8C8CB7D347D3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8" r:id="rId1"/>
    <p:sldLayoutId id="2147501360" r:id="rId2"/>
    <p:sldLayoutId id="2147501361" r:id="rId3"/>
    <p:sldLayoutId id="2147501362" r:id="rId4"/>
    <p:sldLayoutId id="2147501363" r:id="rId5"/>
    <p:sldLayoutId id="2147501364" r:id="rId6"/>
    <p:sldLayoutId id="2147501365" r:id="rId7"/>
    <p:sldLayoutId id="2147501366" r:id="rId8"/>
    <p:sldLayoutId id="2147501367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3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2253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253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884EF8E-4A68-4FB5-A7F7-B999CC158727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39" r:id="rId1"/>
    <p:sldLayoutId id="2147501368" r:id="rId2"/>
    <p:sldLayoutId id="2147501369" r:id="rId3"/>
    <p:sldLayoutId id="2147501370" r:id="rId4"/>
    <p:sldLayoutId id="2147501371" r:id="rId5"/>
    <p:sldLayoutId id="2147501372" r:id="rId6"/>
    <p:sldLayoutId id="2147501373" r:id="rId7"/>
    <p:sldLayoutId id="2147501374" r:id="rId8"/>
    <p:sldLayoutId id="2147501375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t 4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Diapositive think-cell" r:id="rId13" imgW="270" imgH="270" progId="TCLayout.ActiveDocument.1">
                  <p:embed/>
                </p:oleObj>
              </mc:Choice>
              <mc:Fallback>
                <p:oleObj name="Diapositive think-cell" r:id="rId13" imgW="270" imgH="270" progId="TCLayout.ActiveDocument.1">
                  <p:embed/>
                  <p:pic>
                    <p:nvPicPr>
                      <p:cNvPr id="0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4F547B4C-73C6-4FE3-B915-795C645B1BCF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40" r:id="rId1"/>
    <p:sldLayoutId id="2147501441" r:id="rId2"/>
    <p:sldLayoutId id="2147501442" r:id="rId3"/>
    <p:sldLayoutId id="2147501443" r:id="rId4"/>
    <p:sldLayoutId id="2147501444" r:id="rId5"/>
    <p:sldLayoutId id="2147501445" r:id="rId6"/>
    <p:sldLayoutId id="2147501446" r:id="rId7"/>
    <p:sldLayoutId id="2147501447" r:id="rId8"/>
  </p:sldLayoutIdLst>
  <p:transition spd="med">
    <p:fade/>
  </p:transition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t 4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0" name="Diapositive think-cell" r:id="rId13" imgW="270" imgH="270" progId="TCLayout.ActiveDocument.1">
                  <p:embed/>
                </p:oleObj>
              </mc:Choice>
              <mc:Fallback>
                <p:oleObj name="Diapositive think-cell" r:id="rId13" imgW="270" imgH="270" progId="TCLayout.ActiveDocument.1">
                  <p:embed/>
                  <p:pic>
                    <p:nvPicPr>
                      <p:cNvPr id="0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B53F356E-BE51-4AB9-9F6E-04C97ACDF34C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48" r:id="rId1"/>
    <p:sldLayoutId id="2147501449" r:id="rId2"/>
    <p:sldLayoutId id="2147501450" r:id="rId3"/>
    <p:sldLayoutId id="2147501451" r:id="rId4"/>
    <p:sldLayoutId id="2147501452" r:id="rId5"/>
    <p:sldLayoutId id="2147501453" r:id="rId6"/>
    <p:sldLayoutId id="2147501376" r:id="rId7"/>
    <p:sldLayoutId id="2147501454" r:id="rId8"/>
  </p:sldLayoutIdLst>
  <p:transition spd="med">
    <p:fade/>
  </p:transition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t 4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4" name="Diapositive think-cell" r:id="rId13" imgW="270" imgH="270" progId="TCLayout.ActiveDocument.1">
                  <p:embed/>
                </p:oleObj>
              </mc:Choice>
              <mc:Fallback>
                <p:oleObj name="Diapositive think-cell" r:id="rId13" imgW="270" imgH="270" progId="TCLayout.ActiveDocument.1">
                  <p:embed/>
                  <p:pic>
                    <p:nvPicPr>
                      <p:cNvPr id="0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C43FC6B9-54FC-4B51-BFE3-F78ED0CE3641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55" r:id="rId1"/>
    <p:sldLayoutId id="2147501456" r:id="rId2"/>
    <p:sldLayoutId id="2147501457" r:id="rId3"/>
    <p:sldLayoutId id="2147501458" r:id="rId4"/>
    <p:sldLayoutId id="2147501459" r:id="rId5"/>
    <p:sldLayoutId id="2147501460" r:id="rId6"/>
    <p:sldLayoutId id="2147501461" r:id="rId7"/>
    <p:sldLayoutId id="2147501462" r:id="rId8"/>
  </p:sldLayoutIdLst>
  <p:transition spd="med">
    <p:fade/>
  </p:transition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t 2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9" name="Diapositive think-cell" r:id="rId15" imgW="360" imgH="360" progId="TCLayout.ActiveDocument.1">
                  <p:embed/>
                </p:oleObj>
              </mc:Choice>
              <mc:Fallback>
                <p:oleObj name="Diapositive think-cell" r:id="rId15" imgW="360" imgH="36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GB" sz="2000" dirty="0">
              <a:solidFill>
                <a:srgbClr val="FFFFFF"/>
              </a:solidFill>
              <a:latin typeface="Helvetica 75 Bold"/>
              <a:ea typeface="ＭＳ Ｐゴシック"/>
              <a:sym typeface="Helvetica 75 Bold"/>
            </a:endParaRPr>
          </a:p>
        </p:txBody>
      </p:sp>
      <p:sp>
        <p:nvSpPr>
          <p:cNvPr id="2662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quez ici pour saisir le titre principal</a:t>
            </a:r>
          </a:p>
        </p:txBody>
      </p:sp>
      <p:sp>
        <p:nvSpPr>
          <p:cNvPr id="266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Modifiez le texte du masque</a:t>
            </a:r>
          </a:p>
          <a:p>
            <a:pPr lvl="1"/>
            <a:r>
              <a:rPr lang="en-GB" altLang="en-US" smtClean="0"/>
              <a:t>Deuxième niveau</a:t>
            </a:r>
          </a:p>
          <a:p>
            <a:pPr lvl="2"/>
            <a:r>
              <a:rPr lang="en-GB" altLang="en-US" smtClean="0"/>
              <a:t>Troisième niveau</a:t>
            </a:r>
          </a:p>
          <a:p>
            <a:pPr lvl="3"/>
            <a:r>
              <a:rPr lang="en-GB" altLang="en-US" smtClean="0"/>
              <a:t>Quatrième niveau</a:t>
            </a:r>
          </a:p>
          <a:p>
            <a:pPr lvl="4"/>
            <a:r>
              <a:rPr lang="en-GB" altLang="en-US" smtClean="0"/>
              <a:t>Cinquième niveau</a:t>
            </a:r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92075" y="4727575"/>
            <a:ext cx="274638" cy="3349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124777AA-7589-4864-85B1-A5756DBBE489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411163" y="472281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internal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63" r:id="rId1"/>
    <p:sldLayoutId id="2147501377" r:id="rId2"/>
    <p:sldLayoutId id="2147501378" r:id="rId3"/>
    <p:sldLayoutId id="2147501379" r:id="rId4"/>
    <p:sldLayoutId id="2147501380" r:id="rId5"/>
    <p:sldLayoutId id="2147501381" r:id="rId6"/>
    <p:sldLayoutId id="2147501382" r:id="rId7"/>
    <p:sldLayoutId id="2147501383" r:id="rId8"/>
    <p:sldLayoutId id="2147501384" r:id="rId9"/>
    <p:sldLayoutId id="2147501464" r:id="rId10"/>
  </p:sldLayoutIdLst>
  <p:transition spd="med">
    <p:fade/>
  </p:transition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t 4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3" name="Diapositive think-cell" r:id="rId9" imgW="360" imgH="360" progId="TCLayout.ActiveDocument.1">
                  <p:embed/>
                </p:oleObj>
              </mc:Choice>
              <mc:Fallback>
                <p:oleObj name="Diapositive think-cell" r:id="rId9" imgW="360" imgH="360" progId="TCLayout.ActiveDocument.1">
                  <p:embed/>
                  <p:pic>
                    <p:nvPicPr>
                      <p:cNvPr id="0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712608" eaLnBrk="1" hangingPunct="1">
              <a:defRPr/>
            </a:pPr>
            <a:endParaRPr lang="fr-FR" sz="2000" dirty="0">
              <a:solidFill>
                <a:srgbClr val="000000"/>
              </a:solidFill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47625" y="47640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7BF2475-E0C7-4BD7-A0FF-3361871A39C9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679" name="TextBox 5"/>
          <p:cNvSpPr txBox="1">
            <a:spLocks noChangeArrowheads="1"/>
          </p:cNvSpPr>
          <p:nvPr userDrawn="1"/>
        </p:nvSpPr>
        <p:spPr bwMode="auto">
          <a:xfrm>
            <a:off x="381000" y="4968875"/>
            <a:ext cx="7635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en-US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Orange intern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385" r:id="rId1"/>
    <p:sldLayoutId id="2147501465" r:id="rId2"/>
    <p:sldLayoutId id="2147501386" r:id="rId3"/>
    <p:sldLayoutId id="2147501466" r:id="rId4"/>
  </p:sldLayoutIdLst>
  <p:transition spd="med"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t 4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7" name="Diapositive think-cell" r:id="rId9" imgW="360" imgH="360" progId="TCLayout.ActiveDocument.1">
                  <p:embed/>
                </p:oleObj>
              </mc:Choice>
              <mc:Fallback>
                <p:oleObj name="Diapositive think-cell" r:id="rId9" imgW="360" imgH="360" progId="TCLayout.ActiveDocument.1">
                  <p:embed/>
                  <p:pic>
                    <p:nvPicPr>
                      <p:cNvPr id="0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712608" eaLnBrk="1" hangingPunct="1">
              <a:defRPr/>
            </a:pPr>
            <a:endParaRPr lang="fr-FR" sz="2000" dirty="0">
              <a:solidFill>
                <a:srgbClr val="000000"/>
              </a:solidFill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47625" y="47640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4F1C1061-732A-4EA5-BDD8-E5E94DAB40CB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703" name="TextBox 5"/>
          <p:cNvSpPr txBox="1">
            <a:spLocks noChangeArrowheads="1"/>
          </p:cNvSpPr>
          <p:nvPr userDrawn="1"/>
        </p:nvSpPr>
        <p:spPr bwMode="auto">
          <a:xfrm>
            <a:off x="381000" y="4968875"/>
            <a:ext cx="7635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en-US" altLang="en-US" sz="800" smtClean="0">
                <a:solidFill>
                  <a:srgbClr val="FF7900"/>
                </a:solidFill>
                <a:latin typeface="Helvetica 75 Bold" pitchFamily="34" charset="0"/>
                <a:cs typeface="Arial" charset="0"/>
              </a:rPr>
              <a:t>Orange intern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387" r:id="rId1"/>
    <p:sldLayoutId id="2147501467" r:id="rId2"/>
    <p:sldLayoutId id="2147501388" r:id="rId3"/>
    <p:sldLayoutId id="2147501468" r:id="rId4"/>
  </p:sldLayoutIdLst>
  <p:transition spd="med"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t 2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latin typeface="Helvetica 75 Bold"/>
              <a:ea typeface="ＭＳ Ｐゴシック"/>
              <a:sym typeface="Helvetica 75 Bold"/>
            </a:endParaRPr>
          </a:p>
        </p:txBody>
      </p:sp>
      <p:sp>
        <p:nvSpPr>
          <p:cNvPr id="2970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97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0475A57C-A05A-447C-A45C-AD7C7B51FAD0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sz="800">
                <a:solidFill>
                  <a:srgbClr val="FF6600"/>
                </a:solidFill>
                <a:latin typeface="Helvetica 75 Bold" panose="020B0804020202020204" pitchFamily="34" charset="0"/>
              </a:rPr>
              <a:t>Ateliers Futur OLN</a:t>
            </a:r>
            <a:endParaRPr lang="en-GB" sz="80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69" r:id="rId1"/>
    <p:sldLayoutId id="2147501389" r:id="rId2"/>
    <p:sldLayoutId id="2147501390" r:id="rId3"/>
    <p:sldLayoutId id="2147501391" r:id="rId4"/>
    <p:sldLayoutId id="2147501392" r:id="rId5"/>
    <p:sldLayoutId id="2147501393" r:id="rId6"/>
    <p:sldLayoutId id="2147501394" r:id="rId7"/>
    <p:sldLayoutId id="2147501470" r:id="rId8"/>
    <p:sldLayoutId id="2147501395" r:id="rId9"/>
    <p:sldLayoutId id="2147501471" r:id="rId10"/>
    <p:sldLayoutId id="2147501472" r:id="rId11"/>
  </p:sldLayoutIdLst>
  <p:transition spd="med">
    <p:fade/>
  </p:transition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307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07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652BC0A-0134-453D-B0EA-815509DDE063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0" r:id="rId1"/>
    <p:sldLayoutId id="2147501216" r:id="rId2"/>
    <p:sldLayoutId id="2147501217" r:id="rId3"/>
    <p:sldLayoutId id="2147501218" r:id="rId4"/>
    <p:sldLayoutId id="2147501219" r:id="rId5"/>
    <p:sldLayoutId id="2147501220" r:id="rId6"/>
    <p:sldLayoutId id="2147501221" r:id="rId7"/>
    <p:sldLayoutId id="2147501222" r:id="rId8"/>
    <p:sldLayoutId id="2147501223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2" name="Objet 2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5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3072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072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8B2DAD33-7320-4170-A864-B117C30611C8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sz="800">
                <a:solidFill>
                  <a:srgbClr val="FF6600"/>
                </a:solidFill>
                <a:latin typeface="Helvetica 75 Bold" panose="020B0804020202020204" pitchFamily="34" charset="0"/>
              </a:rPr>
              <a:t>Ateliers Futur OLN</a:t>
            </a:r>
            <a:endParaRPr lang="en-GB" sz="80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73" r:id="rId1"/>
    <p:sldLayoutId id="2147501396" r:id="rId2"/>
    <p:sldLayoutId id="2147501397" r:id="rId3"/>
    <p:sldLayoutId id="2147501398" r:id="rId4"/>
    <p:sldLayoutId id="2147501399" r:id="rId5"/>
    <p:sldLayoutId id="2147501400" r:id="rId6"/>
    <p:sldLayoutId id="2147501401" r:id="rId7"/>
    <p:sldLayoutId id="2147501402" r:id="rId8"/>
    <p:sldLayoutId id="2147501403" r:id="rId9"/>
    <p:sldLayoutId id="2147501404" r:id="rId10"/>
  </p:sldLayoutIdLst>
  <p:transition spd="med">
    <p:fade/>
  </p:transition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t 4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2400" dirty="0">
              <a:solidFill>
                <a:srgbClr val="000000"/>
              </a:solidFill>
              <a:latin typeface="Helvetica 75 Bold"/>
              <a:ea typeface="+mj-ea"/>
              <a:cs typeface="+mj-cs"/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3850" y="268288"/>
            <a:ext cx="8505825" cy="741362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850" y="1181100"/>
            <a:ext cx="8505825" cy="3370263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74" r:id="rId1"/>
    <p:sldLayoutId id="2147501405" r:id="rId2"/>
    <p:sldLayoutId id="2147501406" r:id="rId3"/>
    <p:sldLayoutId id="2147501407" r:id="rId4"/>
    <p:sldLayoutId id="2147501475" r:id="rId5"/>
    <p:sldLayoutId id="2147501408" r:id="rId6"/>
    <p:sldLayoutId id="2147501476" r:id="rId7"/>
    <p:sldLayoutId id="2147501477" r:id="rId8"/>
    <p:sldLayoutId id="2147501497" r:id="rId9"/>
    <p:sldLayoutId id="2147501498" r:id="rId10"/>
  </p:sldLayoutIdLst>
  <p:transition spd="med">
    <p:fade/>
  </p:transition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 spc="-2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2000" kern="1200" spc="-20">
          <a:solidFill>
            <a:schemeClr val="bg2"/>
          </a:solidFill>
          <a:latin typeface="+mj-lt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600" kern="1200" spc="-20">
          <a:solidFill>
            <a:schemeClr val="tx1"/>
          </a:solidFill>
          <a:latin typeface="+mj-lt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70" name="Objet 4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2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9D6C387C-1099-44D2-A032-E5D73E75D25F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78" r:id="rId1"/>
    <p:sldLayoutId id="2147501479" r:id="rId2"/>
    <p:sldLayoutId id="2147501480" r:id="rId3"/>
    <p:sldLayoutId id="2147501481" r:id="rId4"/>
    <p:sldLayoutId id="2147501482" r:id="rId5"/>
    <p:sldLayoutId id="2147501483" r:id="rId6"/>
    <p:sldLayoutId id="2147501484" r:id="rId7"/>
    <p:sldLayoutId id="2147501485" r:id="rId8"/>
    <p:sldLayoutId id="2147501409" r:id="rId9"/>
    <p:sldLayoutId id="2147501486" r:id="rId10"/>
  </p:sldLayoutIdLst>
  <p:transition spd="med">
    <p:fade/>
  </p:transition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4" name="Objet 4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name="Diapositive think-cell" r:id="rId13" imgW="270" imgH="270" progId="TCLayout.ActiveDocument.1">
                  <p:embed/>
                </p:oleObj>
              </mc:Choice>
              <mc:Fallback>
                <p:oleObj name="Diapositive think-cell" r:id="rId13" imgW="270" imgH="270" progId="TCLayout.ActiveDocument.1">
                  <p:embed/>
                  <p:pic>
                    <p:nvPicPr>
                      <p:cNvPr id="0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solidFill>
                <a:srgbClr val="000000"/>
              </a:solidFill>
              <a:ea typeface="+mj-ea"/>
              <a:cs typeface="+mj-cs"/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79EE050-7158-4319-B35B-5832C0ADB0A1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87" r:id="rId1"/>
    <p:sldLayoutId id="2147501488" r:id="rId2"/>
    <p:sldLayoutId id="2147501489" r:id="rId3"/>
    <p:sldLayoutId id="2147501490" r:id="rId4"/>
    <p:sldLayoutId id="2147501491" r:id="rId5"/>
    <p:sldLayoutId id="2147501492" r:id="rId6"/>
    <p:sldLayoutId id="2147501493" r:id="rId7"/>
    <p:sldLayoutId id="2147501494" r:id="rId8"/>
  </p:sldLayoutIdLst>
  <p:transition spd="med">
    <p:fade/>
  </p:transition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18" name="Objet 5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1" name="Diapositive think-cell" r:id="rId14" imgW="360" imgH="360" progId="TCLayout.ActiveDocument.1">
                  <p:embed/>
                </p:oleObj>
              </mc:Choice>
              <mc:Fallback>
                <p:oleObj name="Diapositive think-cell" r:id="rId14" imgW="360" imgH="360" progId="TCLayout.ActiveDocument.1">
                  <p:embed/>
                  <p:pic>
                    <p:nvPicPr>
                      <p:cNvPr id="0" name="Obje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2000" dirty="0">
              <a:solidFill>
                <a:srgbClr val="000000"/>
              </a:solidFill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E9ED2A58-7326-4591-95BA-A715432EFCEF}" type="slidenum">
              <a:rPr lang="fr-FR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47" name="TextBox 5"/>
          <p:cNvSpPr txBox="1">
            <a:spLocks noChangeArrowheads="1"/>
          </p:cNvSpPr>
          <p:nvPr/>
        </p:nvSpPr>
        <p:spPr bwMode="auto">
          <a:xfrm>
            <a:off x="619125" y="4749800"/>
            <a:ext cx="958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5pPr>
            <a:lvl6pPr marL="18827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6pPr>
            <a:lvl7pPr marL="23399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7pPr>
            <a:lvl8pPr marL="27971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8pPr>
            <a:lvl9pPr marL="3254375" indent="403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en-US" sz="800" smtClean="0">
                <a:solidFill>
                  <a:srgbClr val="FF7900"/>
                </a:solidFill>
                <a:latin typeface="Helvetica 75 Bold" pitchFamily="34" charset="0"/>
              </a:rPr>
              <a:t>BR OLN 13/01/202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10" r:id="rId1"/>
    <p:sldLayoutId id="2147501495" r:id="rId2"/>
    <p:sldLayoutId id="2147501411" r:id="rId3"/>
    <p:sldLayoutId id="2147501412" r:id="rId4"/>
    <p:sldLayoutId id="2147501413" r:id="rId5"/>
    <p:sldLayoutId id="2147501414" r:id="rId6"/>
    <p:sldLayoutId id="2147501496" r:id="rId7"/>
    <p:sldLayoutId id="2147501415" r:id="rId8"/>
    <p:sldLayoutId id="2147501416" r:id="rId9"/>
  </p:sldLayoutIdLst>
  <p:transition spd="med"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2C391812-C0DA-4626-AABF-CCCB03138B8C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1" r:id="rId1"/>
    <p:sldLayoutId id="2147501224" r:id="rId2"/>
    <p:sldLayoutId id="2147501225" r:id="rId3"/>
    <p:sldLayoutId id="2147501226" r:id="rId4"/>
    <p:sldLayoutId id="2147501227" r:id="rId5"/>
    <p:sldLayoutId id="2147501228" r:id="rId6"/>
    <p:sldLayoutId id="2147501229" r:id="rId7"/>
    <p:sldLayoutId id="2147501230" r:id="rId8"/>
    <p:sldLayoutId id="2147501231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512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512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675688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6F499ABE-760A-4893-BFAB-DC79C7496579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2" r:id="rId1"/>
    <p:sldLayoutId id="2147501232" r:id="rId2"/>
    <p:sldLayoutId id="2147501233" r:id="rId3"/>
    <p:sldLayoutId id="2147501234" r:id="rId4"/>
    <p:sldLayoutId id="2147501235" r:id="rId5"/>
    <p:sldLayoutId id="2147501236" r:id="rId6"/>
    <p:sldLayoutId id="2147501237" r:id="rId7"/>
    <p:sldLayoutId id="2147501238" r:id="rId8"/>
    <p:sldLayoutId id="2147501239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614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614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5A35E66C-9591-4BE5-876E-3D11478FB977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3" r:id="rId1"/>
    <p:sldLayoutId id="2147501240" r:id="rId2"/>
    <p:sldLayoutId id="2147501241" r:id="rId3"/>
    <p:sldLayoutId id="2147501242" r:id="rId4"/>
    <p:sldLayoutId id="2147501243" r:id="rId5"/>
    <p:sldLayoutId id="2147501244" r:id="rId6"/>
    <p:sldLayoutId id="2147501245" r:id="rId7"/>
    <p:sldLayoutId id="2147501246" r:id="rId8"/>
    <p:sldLayoutId id="2147501247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717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717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25FAA81F-0349-4C72-8534-9A0A39A319BF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4" r:id="rId1"/>
    <p:sldLayoutId id="2147501248" r:id="rId2"/>
    <p:sldLayoutId id="2147501249" r:id="rId3"/>
    <p:sldLayoutId id="2147501250" r:id="rId4"/>
    <p:sldLayoutId id="2147501251" r:id="rId5"/>
    <p:sldLayoutId id="2147501252" r:id="rId6"/>
    <p:sldLayoutId id="2147501253" r:id="rId7"/>
    <p:sldLayoutId id="2147501254" r:id="rId8"/>
    <p:sldLayoutId id="2147501255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819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819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EAE5795F-C207-40D3-AD0D-482EB8108D61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5" r:id="rId1"/>
    <p:sldLayoutId id="2147501256" r:id="rId2"/>
    <p:sldLayoutId id="2147501257" r:id="rId3"/>
    <p:sldLayoutId id="2147501258" r:id="rId4"/>
    <p:sldLayoutId id="2147501259" r:id="rId5"/>
    <p:sldLayoutId id="2147501260" r:id="rId6"/>
    <p:sldLayoutId id="2147501261" r:id="rId7"/>
    <p:sldLayoutId id="2147501262" r:id="rId8"/>
    <p:sldLayoutId id="2147501263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fr-FR" sz="200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922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922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8747125" y="4684713"/>
            <a:ext cx="288925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1pPr>
            <a:lvl2pPr marL="688975" indent="-231775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2pPr>
            <a:lvl3pPr marL="12446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3pPr>
            <a:lvl4pPr marL="1663700" indent="-28575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4pPr>
            <a:lvl5pPr marL="2251075" indent="-596900" eaLnBrk="0" hangingPunct="0"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5pPr>
            <a:lvl6pPr marL="27082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6pPr>
            <a:lvl7pPr marL="31654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7pPr>
            <a:lvl8pPr marL="36226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8pPr>
            <a:lvl9pPr marL="4079875" indent="-5969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buFont typeface="Helvetica 75" pitchFamily="34" charset="0"/>
              <a:buNone/>
              <a:defRPr/>
            </a:pPr>
            <a:fld id="{D83106E8-1721-4CD2-B314-3D1F02A9B1E1}" type="slidenum">
              <a:rPr lang="en-GB" altLang="fr-FR" sz="800" smtClean="0">
                <a:solidFill>
                  <a:srgbClr val="000000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pPr defTabSz="914400" eaLnBrk="1" hangingPunct="1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buFont typeface="Helvetica 75" pitchFamily="34" charset="0"/>
                <a:buNone/>
                <a:defRPr/>
              </a:pPr>
              <a:t>‹N°›</a:t>
            </a:fld>
            <a:endParaRPr lang="en-GB" altLang="fr-FR" sz="800" smtClean="0">
              <a:solidFill>
                <a:srgbClr val="000000"/>
              </a:solidFill>
              <a:latin typeface="Helvetica 75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14325" y="4875213"/>
            <a:ext cx="6827838" cy="14446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501426" r:id="rId1"/>
    <p:sldLayoutId id="2147501264" r:id="rId2"/>
    <p:sldLayoutId id="2147501265" r:id="rId3"/>
    <p:sldLayoutId id="2147501266" r:id="rId4"/>
    <p:sldLayoutId id="2147501267" r:id="rId5"/>
    <p:sldLayoutId id="2147501268" r:id="rId6"/>
    <p:sldLayoutId id="2147501269" r:id="rId7"/>
    <p:sldLayoutId id="2147501270" r:id="rId8"/>
    <p:sldLayoutId id="2147501271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anose="020B0604020202020204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9.xml"/><Relationship Id="rId7" Type="http://schemas.openxmlformats.org/officeDocument/2006/relationships/image" Target="../media/image1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99.vml"/><Relationship Id="rId6" Type="http://schemas.openxmlformats.org/officeDocument/2006/relationships/oleObject" Target="../embeddings/oleObject9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6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9.xml"/><Relationship Id="rId7" Type="http://schemas.openxmlformats.org/officeDocument/2006/relationships/chart" Target="../charts/chart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2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2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3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5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07.xml"/><Relationship Id="rId7" Type="http://schemas.openxmlformats.org/officeDocument/2006/relationships/image" Target="../media/image1.emf"/><Relationship Id="rId2" Type="http://schemas.openxmlformats.org/officeDocument/2006/relationships/tags" Target="../tags/tag206.xml"/><Relationship Id="rId1" Type="http://schemas.openxmlformats.org/officeDocument/2006/relationships/vmlDrawing" Target="../drawings/vmlDrawing106.vml"/><Relationship Id="rId6" Type="http://schemas.openxmlformats.org/officeDocument/2006/relationships/oleObject" Target="../embeddings/oleObject10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6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70.xml"/><Relationship Id="rId7" Type="http://schemas.openxmlformats.org/officeDocument/2006/relationships/image" Target="../media/image10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2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Obje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GB" sz="4800" dirty="0">
              <a:solidFill>
                <a:srgbClr val="000000"/>
              </a:solidFill>
              <a:latin typeface="Helvetica 75 Bold" panose="020B0804020202020204" pitchFamily="34" charset="0"/>
              <a:ea typeface="ＭＳ Ｐゴシック" panose="020B0600070205080204" pitchFamily="34" charset="-128"/>
              <a:cs typeface="+mj-cs"/>
              <a:sym typeface="Helvetica 75 Bold" panose="020B0804020202020204" pitchFamily="34" charset="0"/>
            </a:endParaRPr>
          </a:p>
        </p:txBody>
      </p:sp>
      <p:pic>
        <p:nvPicPr>
          <p:cNvPr id="119813" name="Image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4" r="30212"/>
          <a:stretch>
            <a:fillRect/>
          </a:stretch>
        </p:blipFill>
        <p:spPr bwMode="auto">
          <a:xfrm>
            <a:off x="3743325" y="0"/>
            <a:ext cx="540067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7424" y="4300538"/>
            <a:ext cx="3656583" cy="503237"/>
          </a:xfrm>
        </p:spPr>
        <p:txBody>
          <a:bodyPr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en-US" sz="1400" dirty="0" smtClean="0">
                <a:ea typeface="ＭＳ Ｐゴシック" pitchFamily="34" charset="-128"/>
              </a:rPr>
              <a:t>Yves </a:t>
            </a:r>
            <a:r>
              <a:rPr lang="en-GB" altLang="en-US" sz="1400" dirty="0" err="1" smtClean="0">
                <a:ea typeface="ＭＳ Ｐゴシック" pitchFamily="34" charset="-128"/>
              </a:rPr>
              <a:t>Bellégo</a:t>
            </a:r>
            <a:endParaRPr lang="en-GB" altLang="en-US" sz="1400" dirty="0" smtClean="0">
              <a:ea typeface="ＭＳ Ｐゴシック" pitchFamily="34" charset="-128"/>
            </a:endParaRPr>
          </a:p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en-US" sz="1400" dirty="0" smtClean="0">
                <a:ea typeface="ＭＳ Ｐゴシック" pitchFamily="34" charset="-128"/>
              </a:rPr>
              <a:t>February 18</a:t>
            </a:r>
            <a:r>
              <a:rPr lang="en-GB" altLang="en-US" sz="1400" baseline="30000" dirty="0" smtClean="0">
                <a:ea typeface="ＭＳ Ｐゴシック" pitchFamily="34" charset="-128"/>
              </a:rPr>
              <a:t>th</a:t>
            </a:r>
            <a:r>
              <a:rPr lang="en-GB" altLang="en-US" sz="1400" dirty="0" smtClean="0">
                <a:ea typeface="ＭＳ Ｐゴシック" pitchFamily="34" charset="-128"/>
              </a:rPr>
              <a:t> 2021</a:t>
            </a:r>
          </a:p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en-US" sz="1400" dirty="0" smtClean="0">
                <a:ea typeface="ＭＳ Ｐゴシック" pitchFamily="34" charset="-128"/>
              </a:rPr>
              <a:t>ITU-D Tech Talk</a:t>
            </a:r>
            <a:endParaRPr lang="en-GB" sz="1400" dirty="0">
              <a:solidFill>
                <a:schemeClr val="bg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43325" y="0"/>
            <a:ext cx="5400675" cy="51435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6700" y="1009650"/>
            <a:ext cx="5126038" cy="1163638"/>
          </a:xfrm>
        </p:spPr>
        <p:txBody>
          <a:bodyPr/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r>
              <a:rPr lang="en-GB" sz="4800" dirty="0" smtClean="0">
                <a:solidFill>
                  <a:schemeClr val="bg2"/>
                </a:solidFill>
                <a:ea typeface="ＭＳ Ｐゴシック" charset="0"/>
              </a:rPr>
              <a:t>Trends in Networks</a:t>
            </a:r>
            <a:endParaRPr lang="en-GB" sz="32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976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21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51"/>
          <a:stretch/>
        </p:blipFill>
        <p:spPr>
          <a:xfrm>
            <a:off x="-3009" y="-22820"/>
            <a:ext cx="9144000" cy="5166320"/>
          </a:xfrm>
          <a:prstGeom prst="rect">
            <a:avLst/>
          </a:prstGeom>
        </p:spPr>
      </p:pic>
      <p:graphicFrame>
        <p:nvGraphicFramePr>
          <p:cNvPr id="2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4377424"/>
              </p:ext>
            </p:extLst>
          </p:nvPr>
        </p:nvGraphicFramePr>
        <p:xfrm>
          <a:off x="2807410" y="2427734"/>
          <a:ext cx="6326835" cy="2715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1860" name="ZoneTexte 1"/>
          <p:cNvSpPr txBox="1">
            <a:spLocks noChangeArrowheads="1"/>
          </p:cNvSpPr>
          <p:nvPr/>
        </p:nvSpPr>
        <p:spPr bwMode="auto">
          <a:xfrm>
            <a:off x="7933817" y="4659540"/>
            <a:ext cx="1223417" cy="48396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xtLst/>
        </p:spPr>
        <p:txBody>
          <a:bodyPr wrap="square" lIns="72000" tIns="72000" rIns="72000" bIns="72000">
            <a:spAutoFit/>
          </a:bodyPr>
          <a:lstStyle/>
          <a:p>
            <a:pPr eaLnBrk="1" hangingPunct="1"/>
            <a:r>
              <a:rPr lang="fr-FR" altLang="fr-FR" sz="1100" b="1" dirty="0"/>
              <a:t>OVUM </a:t>
            </a:r>
            <a:r>
              <a:rPr lang="fr-FR" altLang="fr-FR" sz="1100" b="1" dirty="0" err="1" smtClean="0"/>
              <a:t>forecasts</a:t>
            </a:r>
            <a:endParaRPr lang="fr-FR" altLang="fr-FR" sz="1100" b="1" dirty="0" smtClean="0"/>
          </a:p>
          <a:p>
            <a:pPr eaLnBrk="1" hangingPunct="1"/>
            <a:r>
              <a:rPr lang="fr-FR" altLang="fr-FR" sz="1100" b="1" dirty="0" err="1" smtClean="0"/>
              <a:t>Eastern</a:t>
            </a:r>
            <a:r>
              <a:rPr lang="fr-FR" altLang="fr-FR" sz="1100" b="1" dirty="0" smtClean="0"/>
              <a:t> Europe</a:t>
            </a:r>
            <a:endParaRPr lang="fr-FR" altLang="fr-FR" sz="1100" b="1" dirty="0"/>
          </a:p>
        </p:txBody>
      </p:sp>
      <p:sp>
        <p:nvSpPr>
          <p:cNvPr id="8" name="Titre 1"/>
          <p:cNvSpPr txBox="1">
            <a:spLocks/>
          </p:cNvSpPr>
          <p:nvPr/>
        </p:nvSpPr>
        <p:spPr>
          <a:xfrm>
            <a:off x="6372200" y="-21680"/>
            <a:ext cx="2630993" cy="1010394"/>
          </a:xfrm>
          <a:prstGeom prst="rect">
            <a:avLst/>
          </a:prstGeom>
          <a:solidFill>
            <a:srgbClr val="000000">
              <a:alpha val="14902"/>
            </a:srgbClr>
          </a:solidFill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GB"/>
            </a:defPPr>
            <a:lvl1pPr algn="ctr" defTabSz="914400">
              <a:lnSpc>
                <a:spcPct val="90000"/>
              </a:lnSpc>
              <a:defRPr sz="2800" b="1" spc="-20">
                <a:solidFill>
                  <a:schemeClr val="bg1"/>
                </a:solidFill>
                <a:latin typeface="+mj-lt"/>
                <a:ea typeface="+mn-ea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2pPr>
            <a:lvl3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3pPr>
            <a:lvl4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4pPr>
            <a:lvl5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9pPr>
          </a:lstStyle>
          <a:p>
            <a:r>
              <a:rPr lang="en-GB" dirty="0"/>
              <a:t>Technology </a:t>
            </a:r>
            <a:r>
              <a:rPr lang="en-GB" dirty="0" smtClean="0"/>
              <a:t>improvement</a:t>
            </a:r>
            <a:endParaRPr lang="en-GB" dirty="0"/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7236296" y="1493911"/>
            <a:ext cx="1897949" cy="933822"/>
          </a:xfrm>
          <a:prstGeom prst="rect">
            <a:avLst/>
          </a:prstGeom>
          <a:solidFill>
            <a:srgbClr val="000000">
              <a:alpha val="14902"/>
            </a:srgbClr>
          </a:solidFill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GB"/>
            </a:defPPr>
            <a:lvl1pPr algn="ctr" defTabSz="914400">
              <a:lnSpc>
                <a:spcPct val="90000"/>
              </a:lnSpc>
              <a:defRPr sz="2800" b="1" spc="-20">
                <a:solidFill>
                  <a:schemeClr val="bg1"/>
                </a:solidFill>
                <a:latin typeface="+mj-lt"/>
                <a:ea typeface="+mn-ea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2pPr>
            <a:lvl3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3pPr>
            <a:lvl4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4pPr>
            <a:lvl5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9pPr>
          </a:lstStyle>
          <a:p>
            <a:r>
              <a:rPr lang="en-GB" dirty="0"/>
              <a:t>Traffic </a:t>
            </a:r>
            <a:r>
              <a:rPr lang="en-GB" dirty="0" smtClean="0"/>
              <a:t>growth</a:t>
            </a:r>
            <a:endParaRPr lang="en-GB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8063" y="483518"/>
            <a:ext cx="2547714" cy="1512168"/>
          </a:xfrm>
          <a:prstGeom prst="rect">
            <a:avLst/>
          </a:prstGeom>
          <a:solidFill>
            <a:srgbClr val="000000">
              <a:alpha val="14902"/>
            </a:srgbClr>
          </a:solidFill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GB"/>
            </a:defPPr>
            <a:lvl1pPr algn="ctr" defTabSz="914400">
              <a:lnSpc>
                <a:spcPct val="90000"/>
              </a:lnSpc>
              <a:defRPr sz="2800" b="1" spc="-20">
                <a:solidFill>
                  <a:schemeClr val="bg1"/>
                </a:solidFill>
                <a:latin typeface="+mj-lt"/>
                <a:ea typeface="+mn-ea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2pPr>
            <a:lvl3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3pPr>
            <a:lvl4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4pPr>
            <a:lvl5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9pPr>
          </a:lstStyle>
          <a:p>
            <a:r>
              <a:rPr lang="en-GB" dirty="0" smtClean="0"/>
              <a:t>Demand for broadband connectivity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84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15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06"/>
          <a:stretch/>
        </p:blipFill>
        <p:spPr>
          <a:xfrm>
            <a:off x="0" y="-20538"/>
            <a:ext cx="9143999" cy="5164038"/>
          </a:xfrm>
          <a:prstGeom prst="rect">
            <a:avLst/>
          </a:prstGeom>
        </p:spPr>
      </p:pic>
      <p:sp>
        <p:nvSpPr>
          <p:cNvPr id="48" name="Title 1"/>
          <p:cNvSpPr txBox="1">
            <a:spLocks/>
          </p:cNvSpPr>
          <p:nvPr/>
        </p:nvSpPr>
        <p:spPr>
          <a:xfrm>
            <a:off x="179512" y="627534"/>
            <a:ext cx="4158020" cy="720081"/>
          </a:xfrm>
          <a:prstGeom prst="rect">
            <a:avLst/>
          </a:prstGeom>
          <a:solidFill>
            <a:srgbClr val="000000">
              <a:alpha val="14902"/>
            </a:srgbClr>
          </a:solidFill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GB"/>
            </a:defPPr>
            <a:lvl1pPr algn="ctr" defTabSz="914400">
              <a:lnSpc>
                <a:spcPct val="90000"/>
              </a:lnSpc>
              <a:defRPr sz="2800" b="1" spc="-20">
                <a:solidFill>
                  <a:schemeClr val="bg1"/>
                </a:solidFill>
                <a:latin typeface="+mj-lt"/>
                <a:ea typeface="+mn-ea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2pPr>
            <a:lvl3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3pPr>
            <a:lvl4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4pPr>
            <a:lvl5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9pPr>
          </a:lstStyle>
          <a:p>
            <a:r>
              <a:rPr lang="en-GB" dirty="0"/>
              <a:t>moving to </a:t>
            </a:r>
            <a:r>
              <a:rPr lang="en-GB" dirty="0" smtClean="0"/>
              <a:t>software</a:t>
            </a:r>
            <a:endParaRPr lang="en-GB" dirty="0"/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179512" y="4083918"/>
            <a:ext cx="4158020" cy="720080"/>
          </a:xfrm>
          <a:prstGeom prst="rect">
            <a:avLst/>
          </a:prstGeom>
          <a:solidFill>
            <a:srgbClr val="000000">
              <a:alpha val="14902"/>
            </a:srgbClr>
          </a:solidFill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GB"/>
            </a:defPPr>
            <a:lvl1pPr algn="ctr" defTabSz="914400">
              <a:lnSpc>
                <a:spcPct val="90000"/>
              </a:lnSpc>
              <a:defRPr sz="2800" b="1" spc="-20">
                <a:solidFill>
                  <a:schemeClr val="bg1"/>
                </a:solidFill>
                <a:latin typeface="+mj-lt"/>
                <a:ea typeface="+mn-ea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2pPr>
            <a:lvl3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3pPr>
            <a:lvl4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4pPr>
            <a:lvl5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9pPr>
          </a:lstStyle>
          <a:p>
            <a:r>
              <a:rPr lang="en-GB" dirty="0" smtClean="0"/>
              <a:t>green </a:t>
            </a:r>
            <a:r>
              <a:rPr lang="en-GB" dirty="0"/>
              <a:t>and responsible</a:t>
            </a:r>
          </a:p>
        </p:txBody>
      </p:sp>
      <p:sp>
        <p:nvSpPr>
          <p:cNvPr id="51" name="Title 1"/>
          <p:cNvSpPr txBox="1">
            <a:spLocks/>
          </p:cNvSpPr>
          <p:nvPr/>
        </p:nvSpPr>
        <p:spPr>
          <a:xfrm>
            <a:off x="4860032" y="1979496"/>
            <a:ext cx="4158020" cy="581985"/>
          </a:xfrm>
          <a:prstGeom prst="rect">
            <a:avLst/>
          </a:prstGeom>
          <a:solidFill>
            <a:srgbClr val="000000">
              <a:alpha val="14902"/>
            </a:srgbClr>
          </a:solidFill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GB"/>
            </a:defPPr>
            <a:lvl1pPr algn="ctr" defTabSz="914400">
              <a:lnSpc>
                <a:spcPct val="90000"/>
              </a:lnSpc>
              <a:defRPr sz="2800" b="1" spc="-20">
                <a:solidFill>
                  <a:schemeClr val="bg1"/>
                </a:solidFill>
                <a:latin typeface="+mj-lt"/>
                <a:ea typeface="+mn-ea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2pPr>
            <a:lvl3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3pPr>
            <a:lvl4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4pPr>
            <a:lvl5pPr>
              <a:lnSpc>
                <a:spcPct val="90000"/>
              </a:lnSpc>
              <a:defRPr sz="2400">
                <a:solidFill>
                  <a:schemeClr val="bg2"/>
                </a:solidFill>
                <a:latin typeface="Helvetica 75 Bold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9pPr>
          </a:lstStyle>
          <a:p>
            <a:r>
              <a:rPr lang="en-GB" dirty="0" smtClean="0"/>
              <a:t>security concer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85219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194" name="Picture 2" descr="person holding black iphon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1938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683568" y="3147814"/>
            <a:ext cx="2223686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fr-FR" sz="5400" dirty="0" smtClean="0">
                <a:solidFill>
                  <a:schemeClr val="bg2"/>
                </a:solidFill>
                <a:latin typeface="Helvetica 75 Bold" panose="020B0804020202020204" pitchFamily="34" charset="0"/>
              </a:rPr>
              <a:t>Thank</a:t>
            </a:r>
          </a:p>
          <a:p>
            <a:pPr algn="ctr" eaLnBrk="1" hangingPunct="1"/>
            <a:r>
              <a:rPr lang="en-US" altLang="fr-FR" sz="5400" dirty="0" smtClean="0">
                <a:solidFill>
                  <a:schemeClr val="bg2"/>
                </a:solidFill>
                <a:latin typeface="Helvetica 75 Bold" panose="020B0804020202020204" pitchFamily="34" charset="0"/>
              </a:rPr>
              <a:t>you </a:t>
            </a:r>
            <a:r>
              <a:rPr lang="en-US" altLang="fr-FR" sz="5400" dirty="0">
                <a:solidFill>
                  <a:schemeClr val="bg2"/>
                </a:solidFill>
                <a:latin typeface="Helvetica 75 Bold" panose="020B0804020202020204" pitchFamily="34" charset="0"/>
              </a:rPr>
              <a:t>!</a:t>
            </a:r>
            <a:endParaRPr lang="fr-FR" altLang="fr-FR" sz="5400" dirty="0">
              <a:solidFill>
                <a:schemeClr val="bg2"/>
              </a:solidFill>
              <a:latin typeface="Helvetica 75 Bold" panose="020B0804020202020204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496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81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 bwMode="auto">
          <a:xfrm>
            <a:off x="971600" y="789471"/>
            <a:ext cx="3168352" cy="365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9pPr>
          </a:lstStyle>
          <a:p>
            <a:pPr algn="ctr"/>
            <a:r>
              <a:rPr lang="en-US" altLang="fr-FR" sz="3600" kern="0" dirty="0" smtClean="0">
                <a:solidFill>
                  <a:srgbClr val="FF6600"/>
                </a:solidFill>
                <a:latin typeface="Helvetica 75 Bold" panose="020B0804020202020204" pitchFamily="34" charset="0"/>
              </a:rPr>
              <a:t>what is the first service</a:t>
            </a:r>
            <a:br>
              <a:rPr lang="en-US" altLang="fr-FR" sz="3600" kern="0" dirty="0" smtClean="0">
                <a:solidFill>
                  <a:srgbClr val="FF6600"/>
                </a:solidFill>
                <a:latin typeface="Helvetica 75 Bold" panose="020B0804020202020204" pitchFamily="34" charset="0"/>
              </a:rPr>
            </a:br>
            <a:r>
              <a:rPr lang="en-US" altLang="fr-FR" sz="3600" kern="0" dirty="0" smtClean="0">
                <a:solidFill>
                  <a:srgbClr val="FF6600"/>
                </a:solidFill>
                <a:latin typeface="Helvetica 75 Bold" panose="020B0804020202020204" pitchFamily="34" charset="0"/>
              </a:rPr>
              <a:t>that our customers value ?</a:t>
            </a:r>
            <a:endParaRPr lang="en-US" altLang="fr-FR" sz="3600" kern="0" dirty="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88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30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53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5526"/>
            <a:ext cx="9144000" cy="4104456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 bwMode="auto">
          <a:xfrm>
            <a:off x="2915816" y="1779662"/>
            <a:ext cx="3384376" cy="201622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9pPr>
          </a:lstStyle>
          <a:p>
            <a:pPr algn="ctr">
              <a:tabLst>
                <a:tab pos="2955925" algn="l"/>
              </a:tabLst>
            </a:pPr>
            <a:r>
              <a:rPr lang="en-US" altLang="fr-FR" sz="4000" kern="0" dirty="0" smtClean="0">
                <a:solidFill>
                  <a:srgbClr val="808080">
                    <a:lumMod val="50000"/>
                  </a:srgbClr>
                </a:solidFill>
                <a:latin typeface="Helvetica 75 Bold" panose="020B0804020202020204" pitchFamily="34" charset="0"/>
              </a:rPr>
              <a:t>reachability</a:t>
            </a:r>
            <a:endParaRPr lang="en-US" altLang="fr-FR" sz="4000" kern="0" dirty="0">
              <a:solidFill>
                <a:srgbClr val="808080">
                  <a:lumMod val="50000"/>
                </a:srgbClr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51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942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05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 bwMode="auto">
          <a:xfrm>
            <a:off x="1043607" y="744506"/>
            <a:ext cx="3168353" cy="365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9pPr>
          </a:lstStyle>
          <a:p>
            <a:pPr algn="ctr"/>
            <a:r>
              <a:rPr lang="en-US" altLang="fr-FR" sz="3600" kern="0" dirty="0" smtClean="0">
                <a:solidFill>
                  <a:srgbClr val="FF6600"/>
                </a:solidFill>
                <a:latin typeface="Helvetica 75 Bold" panose="020B0804020202020204" pitchFamily="34" charset="0"/>
              </a:rPr>
              <a:t>what is the max user throughput we shall deliver to our customers ?</a:t>
            </a:r>
            <a:endParaRPr lang="en-US" altLang="fr-FR" sz="3600" kern="0" dirty="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998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77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5526"/>
            <a:ext cx="9144000" cy="4104456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 bwMode="auto">
          <a:xfrm>
            <a:off x="2915816" y="1779662"/>
            <a:ext cx="3384376" cy="201622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9pPr>
          </a:lstStyle>
          <a:p>
            <a:pPr algn="ctr">
              <a:tabLst>
                <a:tab pos="2955925" algn="l"/>
              </a:tabLst>
            </a:pPr>
            <a:r>
              <a:rPr lang="en-US" altLang="fr-FR" sz="4000" kern="0" dirty="0" smtClean="0">
                <a:solidFill>
                  <a:srgbClr val="808080">
                    <a:lumMod val="50000"/>
                  </a:srgbClr>
                </a:solidFill>
                <a:latin typeface="Helvetica 75 Bold" panose="020B0804020202020204" pitchFamily="34" charset="0"/>
              </a:rPr>
              <a:t>more</a:t>
            </a:r>
            <a:endParaRPr lang="en-US" altLang="fr-FR" sz="4000" kern="0" dirty="0">
              <a:solidFill>
                <a:srgbClr val="808080">
                  <a:lumMod val="50000"/>
                </a:srgbClr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80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715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30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 bwMode="auto">
          <a:xfrm>
            <a:off x="899592" y="651883"/>
            <a:ext cx="3312368" cy="365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9pPr>
          </a:lstStyle>
          <a:p>
            <a:pPr algn="ctr"/>
            <a:r>
              <a:rPr lang="en-US" altLang="fr-FR" sz="3600" kern="0" dirty="0" smtClean="0">
                <a:solidFill>
                  <a:srgbClr val="FF6600"/>
                </a:solidFill>
                <a:latin typeface="Helvetica 75 Bold" panose="020B0804020202020204" pitchFamily="34" charset="0"/>
              </a:rPr>
              <a:t>what is the killer app for new technologies </a:t>
            </a:r>
            <a:r>
              <a:rPr lang="en-US" altLang="fr-FR" sz="2800" kern="0" dirty="0" smtClean="0">
                <a:solidFill>
                  <a:srgbClr val="FF6600"/>
                </a:solidFill>
                <a:latin typeface="Helvetica 75 Bold" panose="020B0804020202020204" pitchFamily="34" charset="0"/>
              </a:rPr>
              <a:t>(5G, FTTH, </a:t>
            </a:r>
            <a:r>
              <a:rPr lang="en-US" altLang="fr-FR" kern="0" dirty="0" smtClean="0">
                <a:solidFill>
                  <a:srgbClr val="FF6600"/>
                </a:solidFill>
                <a:latin typeface="Helvetica 75 Bold" panose="020B0804020202020204" pitchFamily="34" charset="0"/>
              </a:rPr>
              <a:t>…) </a:t>
            </a:r>
            <a:r>
              <a:rPr lang="en-US" altLang="fr-FR" sz="3200" kern="0" dirty="0" smtClean="0">
                <a:solidFill>
                  <a:srgbClr val="FF6600"/>
                </a:solidFill>
                <a:latin typeface="Helvetica 75 Bold" panose="020B0804020202020204" pitchFamily="34" charset="0"/>
              </a:rPr>
              <a:t>?</a:t>
            </a:r>
            <a:endParaRPr lang="en-US" altLang="fr-FR" sz="3600" kern="0" dirty="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414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01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5526"/>
            <a:ext cx="9144000" cy="4104456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 bwMode="auto">
          <a:xfrm>
            <a:off x="2915816" y="1779662"/>
            <a:ext cx="3384376" cy="201622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Helvetica 65 Medium" pitchFamily="34" charset="0"/>
              </a:defRPr>
            </a:lvl9pPr>
          </a:lstStyle>
          <a:p>
            <a:pPr algn="ctr">
              <a:tabLst>
                <a:tab pos="2955925" algn="l"/>
              </a:tabLst>
            </a:pPr>
            <a:r>
              <a:rPr lang="en-US" altLang="fr-FR" sz="4000" kern="0" dirty="0" smtClean="0">
                <a:solidFill>
                  <a:srgbClr val="808080">
                    <a:lumMod val="50000"/>
                  </a:srgbClr>
                </a:solidFill>
                <a:latin typeface="Helvetica 75 Bold" panose="020B0804020202020204" pitchFamily="34" charset="0"/>
              </a:rPr>
              <a:t>Will be invented after</a:t>
            </a:r>
            <a:endParaRPr lang="en-US" altLang="fr-FR" sz="4000" kern="0" dirty="0">
              <a:solidFill>
                <a:srgbClr val="808080">
                  <a:lumMod val="50000"/>
                </a:srgbClr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24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703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7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GB" sz="4800" dirty="0">
              <a:solidFill>
                <a:srgbClr val="000000"/>
              </a:solidFill>
              <a:latin typeface="Helvetica 75 Bold" panose="020B0804020202020204" pitchFamily="34" charset="0"/>
              <a:ea typeface="ＭＳ Ｐゴシック" panose="020B0600070205080204" pitchFamily="34" charset="-128"/>
              <a:cs typeface="+mj-cs"/>
              <a:sym typeface="Helvetica 75 Bold" panose="020B0804020202020204" pitchFamily="34" charset="0"/>
            </a:endParaRPr>
          </a:p>
        </p:txBody>
      </p:sp>
      <p:pic>
        <p:nvPicPr>
          <p:cNvPr id="119813" name="Image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4" r="30212"/>
          <a:stretch>
            <a:fillRect/>
          </a:stretch>
        </p:blipFill>
        <p:spPr bwMode="auto">
          <a:xfrm>
            <a:off x="3743325" y="0"/>
            <a:ext cx="540067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3743325" y="0"/>
            <a:ext cx="5400675" cy="51435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1972" y="555525"/>
            <a:ext cx="5022116" cy="2520281"/>
          </a:xfrm>
        </p:spPr>
        <p:txBody>
          <a:bodyPr vert="horz"/>
          <a:lstStyle/>
          <a:p>
            <a:pPr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GB" sz="4800" dirty="0" smtClean="0">
                <a:solidFill>
                  <a:schemeClr val="bg2"/>
                </a:solidFill>
                <a:ea typeface="ＭＳ Ｐゴシック" charset="0"/>
              </a:rPr>
              <a:t>lessons learned and trends</a:t>
            </a:r>
            <a:br>
              <a:rPr lang="en-GB" sz="4800" dirty="0" smtClean="0">
                <a:solidFill>
                  <a:schemeClr val="bg2"/>
                </a:solidFill>
                <a:ea typeface="ＭＳ Ｐゴシック" charset="0"/>
              </a:rPr>
            </a:br>
            <a:r>
              <a:rPr lang="en-GB" sz="4800" dirty="0" smtClean="0">
                <a:solidFill>
                  <a:schemeClr val="bg2"/>
                </a:solidFill>
                <a:ea typeface="ＭＳ Ｐゴシック" charset="0"/>
              </a:rPr>
              <a:t>in networks</a:t>
            </a:r>
            <a:br>
              <a:rPr lang="en-GB" sz="4800" dirty="0" smtClean="0">
                <a:solidFill>
                  <a:schemeClr val="bg2"/>
                </a:solidFill>
                <a:ea typeface="ＭＳ Ｐゴシック" charset="0"/>
              </a:rPr>
            </a:br>
            <a:r>
              <a:rPr lang="en-GB" sz="2000" dirty="0" smtClean="0">
                <a:solidFill>
                  <a:schemeClr val="bg2"/>
                </a:solidFill>
                <a:ea typeface="ＭＳ Ｐゴシック" charset="0"/>
              </a:rPr>
              <a:t/>
            </a:r>
            <a:br>
              <a:rPr lang="en-GB" sz="2000" dirty="0" smtClean="0">
                <a:solidFill>
                  <a:schemeClr val="bg2"/>
                </a:solidFill>
                <a:ea typeface="ＭＳ Ｐゴシック" charset="0"/>
              </a:rPr>
            </a:b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6365571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82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329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5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0" name="Obje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6" descr="Focus sur des câbles de fibr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51"/>
          <a:stretch>
            <a:fillRect/>
          </a:stretch>
        </p:blipFill>
        <p:spPr bwMode="auto">
          <a:xfrm>
            <a:off x="0" y="-20638"/>
            <a:ext cx="9144000" cy="51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71042" y="483518"/>
            <a:ext cx="3020838" cy="550931"/>
          </a:xfrm>
          <a:solidFill>
            <a:srgbClr val="000000">
              <a:alpha val="30196"/>
            </a:srgbClr>
          </a:solidFill>
        </p:spPr>
        <p:txBody>
          <a:bodyPr vert="horz" anchor="ctr"/>
          <a:lstStyle/>
          <a:p>
            <a:pPr algn="ctr">
              <a:defRPr/>
            </a:pPr>
            <a:r>
              <a:rPr lang="en-GB" sz="2800" b="1" dirty="0" smtClean="0">
                <a:solidFill>
                  <a:schemeClr val="bg1"/>
                </a:solidFill>
                <a:ea typeface="+mn-ea"/>
                <a:cs typeface="+mn-cs"/>
              </a:rPr>
              <a:t>Global solutions</a:t>
            </a:r>
            <a:endParaRPr lang="en-GB" sz="28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6667" y="3054060"/>
            <a:ext cx="6877333" cy="2109978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59017" y="4734907"/>
            <a:ext cx="683013" cy="422684"/>
          </a:xfrm>
          <a:prstGeom prst="rect">
            <a:avLst/>
          </a:prstGeom>
        </p:spPr>
      </p:pic>
      <p:sp>
        <p:nvSpPr>
          <p:cNvPr id="28" name="Titre 1"/>
          <p:cNvSpPr txBox="1">
            <a:spLocks/>
          </p:cNvSpPr>
          <p:nvPr/>
        </p:nvSpPr>
        <p:spPr>
          <a:xfrm>
            <a:off x="4868235" y="915566"/>
            <a:ext cx="3591248" cy="1008112"/>
          </a:xfrm>
          <a:prstGeom prst="rect">
            <a:avLst/>
          </a:prstGeom>
          <a:solidFill>
            <a:srgbClr val="000000">
              <a:alpha val="30196"/>
            </a:srgbClr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 spc="-2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9pPr>
          </a:lstStyle>
          <a:p>
            <a:pPr algn="ctr" defTabSz="914400">
              <a:defRPr/>
            </a:pPr>
            <a:r>
              <a:rPr lang="en-GB" sz="2800" b="1" dirty="0" smtClean="0">
                <a:solidFill>
                  <a:schemeClr val="bg1"/>
                </a:solidFill>
                <a:ea typeface="+mn-ea"/>
                <a:cs typeface="+mn-cs"/>
              </a:rPr>
              <a:t>interconnection and interoperability </a:t>
            </a:r>
            <a:endParaRPr lang="en-GB" sz="28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39" name="Titre 1"/>
          <p:cNvSpPr txBox="1">
            <a:spLocks/>
          </p:cNvSpPr>
          <p:nvPr/>
        </p:nvSpPr>
        <p:spPr>
          <a:xfrm>
            <a:off x="408417" y="1563638"/>
            <a:ext cx="3716500" cy="529187"/>
          </a:xfrm>
          <a:prstGeom prst="rect">
            <a:avLst/>
          </a:prstGeom>
          <a:solidFill>
            <a:srgbClr val="000000">
              <a:alpha val="30196"/>
            </a:srgbClr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 spc="-2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Helvetica 75 Bold" pitchFamily="34" charset="0"/>
              </a:defRPr>
            </a:lvl9pPr>
          </a:lstStyle>
          <a:p>
            <a:pPr algn="ctr" defTabSz="914400">
              <a:defRPr/>
            </a:pPr>
            <a:r>
              <a:rPr lang="en-GB" sz="2800" b="1" dirty="0" smtClean="0">
                <a:solidFill>
                  <a:schemeClr val="bg1"/>
                </a:solidFill>
                <a:ea typeface="+mn-ea"/>
                <a:cs typeface="+mn-cs"/>
              </a:rPr>
              <a:t>economies of scale</a:t>
            </a:r>
            <a:endParaRPr lang="en-GB" sz="28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60fd420e2f369681ff7d579defce549328791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HBLtFMBTipsuEbg1MB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HBLtFMBTipsuEbg1MB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NtYegtUH_Q2LymqaYJ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NtYegtUH_Q2LymqaYJ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NtYegtUH_Q2LymqaY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wf1OHUZCb0ShUybNxQm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NtYegtUH_Q2LymqaYJ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NtYegtUH_Q2LymqaYJ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NtYegtUH_Q2LymqaYJ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NtYegtUH_Q2LymqaY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NtYegtUH_Q2LymqaY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21LJiE7GRn3xcUfmZp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21LJiE7GRn3xcUfmZp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21LJiE7GRn3xcUfmZ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21LJiE7GRn3xcUfmZp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21LJiE7GRn3xcUfmZ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wf1OHUZCb0ShUybNxQm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21LJiE7GRn3xcUfmZp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21LJiE7GRn3xcUfmZp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ZnjKpghPE63jZbAWgx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ZnjKpghPE63jZbAWgx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ZnjKpghPE63jZbAWg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qfbdLQ5z_KBItA1xp46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qfbdLQ5z_KBItA1xp46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qfbdLQ5z_KBItA1xp46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qfbdLQ5z_KBItA1xp46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nMEjKFen4ouUUxwgei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dsbnLuSj0.6RnAaUTbx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nMEjKFen4ouUUxwgeip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nMEjKFen4ouUUxwgeip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nMEjKFen4ouUUxwgeip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44wkmiU1qFAAatfMcrI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44wkmiU1qFAAatfMcr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r09Ofm5lnv2KoSb43Zm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r09Ofm5lnv2KoSb43Z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r09Ofm5lnv2KoSb43Zm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pcOTtFVNpUoiHBpYTb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pcOTtFVNpUoiHBpYT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dsbnLuSj0.6RnAaUTbx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pcOTtFVNpUoiHBpYTb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pcOTtFVNpUoiHBpYTb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pcOTtFVNpUoiHBpYTb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pcOTtFVNpUoiHBpYTb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pcOTtFVNpUoiHBpYT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pcOTtFVNpUoiHBpYTb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MGlS9p7_sDb9g1L5z5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MGlS9p7_sDb9g1L5z5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MGlS9p7_sDb9g1L5z5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MGlS9p7_sDb9g1L5z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5w.F88WpSLq_V7JT5wz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MGlS9p7_sDb9g1L5z5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MGlS9p7_sDb9g1L5z5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MGlS9p7_sDb9g1L5z5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CwBF2537kHBF5uYYUZw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AyOMjY.UTqHDXE1IQ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AyOMjY.UTqHDXE1IQY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5w.F88WpSLq_V7JT5wz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Bq1Ga3Lac_poRE1pVr4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Bq1Ga3Lac_poRE1pVr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wto8QrSqv_lFIKvo0R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wto8QrSqv_lFIKvo0R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naTMwleCJUEVxqx8sq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TsLias4d5HKQHcuW6S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TsLias4d5HKQHcuW6S5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6a5Un2SXvJn9HVeC6H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6a5Un2SXvJn9HVeC6H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9DBiJVSuMtBX6U4wqz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9DBiJVSuMtBX6U4wqz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s_S40WjROZsgajLLnT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s_S40WjROZsgajLLnT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HIvB2JDLGkClIyLqCg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HIvB2JDLGkClIyLqCg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naTMwleCJUEVxqx8sq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_N0tOooWGjXDjfkSyn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_N0tOooWGjXDjfkSyn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NsNbMINFYRIQ.ZpZR1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NsNbMINFYRIQ.ZpZR1K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X3gbMz3RWbG8yRBMqz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X3gbMz3RWbG8yRBMqz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8RkxXhkif7uq8mKGEY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8RkxXhkif7uq8mKGEYT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s9apwdfq.biB.n4d5E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s9apwdfq.biB.n4d5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A_mhYCZuhkYVt2lpDf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DCZsovaY07384pSlFfT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DCZsovaY07384pSlFfT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MB31is1W5Et1MrKG6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MB31is1W5Et1MrKG6y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OABdNe9v5EyNIMyXta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OABdNe9v5EyNIMyXta5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WPQ8hkA1q2U9A_bz3B8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WPQ8hkA1q2U9A_bz3B8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AU7gt7L32z_ZBpqzoq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AU7gt7L32z_ZBpqzoq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A_mhYCZuhkYVt2lpDfv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HBLtFMBTipsuEbg1M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HBLtFMBTipsuEbg1M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HBLtFMBTipsuEbg1M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HBLtFMBTipsuEbg1M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HBLtFMBTipsuEbg1MBg"/>
</p:tagLst>
</file>

<file path=ppt/theme/theme1.xml><?xml version="1.0" encoding="utf-8"?>
<a:theme xmlns:a="http://schemas.openxmlformats.org/drawingml/2006/main" name="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0.xml><?xml version="1.0" encoding="utf-8"?>
<a:theme xmlns:a="http://schemas.openxmlformats.org/drawingml/2006/main" name="8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1.xml><?xml version="1.0" encoding="utf-8"?>
<a:theme xmlns:a="http://schemas.openxmlformats.org/drawingml/2006/main" name="9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2.xml><?xml version="1.0" encoding="utf-8"?>
<a:theme xmlns:a="http://schemas.openxmlformats.org/drawingml/2006/main" name="10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3.xml><?xml version="1.0" encoding="utf-8"?>
<a:theme xmlns:a="http://schemas.openxmlformats.org/drawingml/2006/main" name="11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4.xml><?xml version="1.0" encoding="utf-8"?>
<a:theme xmlns:a="http://schemas.openxmlformats.org/drawingml/2006/main" name="12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5.xml><?xml version="1.0" encoding="utf-8"?>
<a:theme xmlns:a="http://schemas.openxmlformats.org/drawingml/2006/main" name="13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6.xml><?xml version="1.0" encoding="utf-8"?>
<a:theme xmlns:a="http://schemas.openxmlformats.org/drawingml/2006/main" name="14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7.xml><?xml version="1.0" encoding="utf-8"?>
<a:theme xmlns:a="http://schemas.openxmlformats.org/drawingml/2006/main" name="15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8.xml><?xml version="1.0" encoding="utf-8"?>
<a:theme xmlns:a="http://schemas.openxmlformats.org/drawingml/2006/main" name="16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9.xml><?xml version="1.0" encoding="utf-8"?>
<a:theme xmlns:a="http://schemas.openxmlformats.org/drawingml/2006/main" name="17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.xml><?xml version="1.0" encoding="utf-8"?>
<a:theme xmlns:a="http://schemas.openxmlformats.org/drawingml/2006/main" name="1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0.xml><?xml version="1.0" encoding="utf-8"?>
<a:theme xmlns:a="http://schemas.openxmlformats.org/drawingml/2006/main" name="18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1.xml><?xml version="1.0" encoding="utf-8"?>
<a:theme xmlns:a="http://schemas.openxmlformats.org/drawingml/2006/main" name="19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2.xml><?xml version="1.0" encoding="utf-8"?>
<a:theme xmlns:a="http://schemas.openxmlformats.org/drawingml/2006/main" name="20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3.xml><?xml version="1.0" encoding="utf-8"?>
<a:theme xmlns:a="http://schemas.openxmlformats.org/drawingml/2006/main" name="1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4.xml><?xml version="1.0" encoding="utf-8"?>
<a:theme xmlns:a="http://schemas.openxmlformats.org/drawingml/2006/main" name="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5.xml><?xml version="1.0" encoding="utf-8"?>
<a:theme xmlns:a="http://schemas.openxmlformats.org/drawingml/2006/main" name="2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6.xml><?xml version="1.0" encoding="utf-8"?>
<a:theme xmlns:a="http://schemas.openxmlformats.org/drawingml/2006/main" name="orange_presentationbasique">
  <a:themeElements>
    <a:clrScheme name="Personnalisé 2">
      <a:dk1>
        <a:srgbClr val="FFFFFF"/>
      </a:dk1>
      <a:lt1>
        <a:srgbClr val="FFFFFF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7.xml><?xml version="1.0" encoding="utf-8"?>
<a:theme xmlns:a="http://schemas.openxmlformats.org/drawingml/2006/main" name="3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8.xml><?xml version="1.0" encoding="utf-8"?>
<a:theme xmlns:a="http://schemas.openxmlformats.org/drawingml/2006/main" name="4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9.xml><?xml version="1.0" encoding="utf-8"?>
<a:theme xmlns:a="http://schemas.openxmlformats.org/drawingml/2006/main" name="17_orange_presentationbasiqu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3.xml><?xml version="1.0" encoding="utf-8"?>
<a:theme xmlns:a="http://schemas.openxmlformats.org/drawingml/2006/main" name="1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30.xml><?xml version="1.0" encoding="utf-8"?>
<a:theme xmlns:a="http://schemas.openxmlformats.org/drawingml/2006/main" name="8_orange_presentationbasiqu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31.xml><?xml version="1.0" encoding="utf-8"?>
<a:theme xmlns:a="http://schemas.openxmlformats.org/drawingml/2006/main" name="ORA_template_confidential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D6D6D6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ffice 2">
      <a:majorFont>
        <a:latin typeface="Helvetica 75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Helvetica 55 Roman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32.xml><?xml version="1.0" encoding="utf-8"?>
<a:theme xmlns:a="http://schemas.openxmlformats.org/drawingml/2006/main" name="9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33.xml><?xml version="1.0" encoding="utf-8"?>
<a:theme xmlns:a="http://schemas.openxmlformats.org/drawingml/2006/main" name="10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34.xml><?xml version="1.0" encoding="utf-8"?>
<a:theme xmlns:a="http://schemas.openxmlformats.org/drawingml/2006/main" name="5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3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5.xml><?xml version="1.0" encoding="utf-8"?>
<a:theme xmlns:a="http://schemas.openxmlformats.org/drawingml/2006/main" name="3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6.xml><?xml version="1.0" encoding="utf-8"?>
<a:theme xmlns:a="http://schemas.openxmlformats.org/drawingml/2006/main" name="4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7.xml><?xml version="1.0" encoding="utf-8"?>
<a:theme xmlns:a="http://schemas.openxmlformats.org/drawingml/2006/main" name="5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8.xml><?xml version="1.0" encoding="utf-8"?>
<a:theme xmlns:a="http://schemas.openxmlformats.org/drawingml/2006/main" name="6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9.xml><?xml version="1.0" encoding="utf-8"?>
<a:theme xmlns:a="http://schemas.openxmlformats.org/drawingml/2006/main" name="7_ORA_template_FR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00B0F0"/>
      </a:accent3>
      <a:accent4>
        <a:srgbClr val="92D050"/>
      </a:accent4>
      <a:accent5>
        <a:srgbClr val="FFFF00"/>
      </a:accent5>
      <a:accent6>
        <a:srgbClr val="7030A0"/>
      </a:accent6>
      <a:hlink>
        <a:srgbClr val="FF00FF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4AE2028B0E0D469D2BE5DE010A8668" ma:contentTypeVersion="1" ma:contentTypeDescription="Crée un document." ma:contentTypeScope="" ma:versionID="54ce60fb8294904145d9563f41cd463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326096a972cf35f18f65073dcd425666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mageWidth" minOccurs="0"/>
                <xsd:element ref="ns1:ImageHeight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geWidth" ma:index="9" nillable="true" ma:displayName="Largeur de l'image" ma:internalName="ImageWidth" ma:readOnly="true">
      <xsd:simpleType>
        <xsd:restriction base="dms:Unknown"/>
      </xsd:simpleType>
    </xsd:element>
    <xsd:element name="ImageHeight" ma:index="10" nillable="true" ma:displayName="Hauteur de l'image" ma:internalName="ImageHeight" ma:readOnly="true">
      <xsd:simpleType>
        <xsd:restriction base="dms:Unknown"/>
      </xsd:simpleType>
    </xsd:element>
    <xsd:element name="PublishingStartDate" ma:index="12" nillable="true" ma:displayName="Date de début de planification" ma:description="" ma:hidden="true" ma:internalName="PublishingStartDate">
      <xsd:simpleType>
        <xsd:restriction base="dms:Unknown"/>
      </xsd:simpleType>
    </xsd:element>
    <xsd:element name="PublishingExpirationDate" ma:index="13" nillable="true" ma:displayName="Date de fin de planification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780980-1709-4A94-95D6-06BA15AA75EB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419F5DF-446C-4910-97F5-EA357AA702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33</TotalTime>
  <Words>88</Words>
  <Application>Microsoft Office PowerPoint</Application>
  <PresentationFormat>Affichage à l'écran (16:9)</PresentationFormat>
  <Paragraphs>27</Paragraphs>
  <Slides>12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3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57" baseType="lpstr">
      <vt:lpstr>ＭＳ Ｐゴシック</vt:lpstr>
      <vt:lpstr>ＭＳ Ｐゴシック</vt:lpstr>
      <vt:lpstr>Arial</vt:lpstr>
      <vt:lpstr>Arial Narrow</vt:lpstr>
      <vt:lpstr>Calibri</vt:lpstr>
      <vt:lpstr>Helvetica 35 Thin</vt:lpstr>
      <vt:lpstr>Helvetica 55 Roman</vt:lpstr>
      <vt:lpstr>Helvetica 75</vt:lpstr>
      <vt:lpstr>Helvetica 75 Bold</vt:lpstr>
      <vt:lpstr>Wingdings</vt:lpstr>
      <vt:lpstr>ORA_template_FR</vt:lpstr>
      <vt:lpstr>1_tmp_AvirerORA_template_EN_beta_v4</vt:lpstr>
      <vt:lpstr>1_ORA_template_FR</vt:lpstr>
      <vt:lpstr>2_ORA_template_FR</vt:lpstr>
      <vt:lpstr>3_ORA_template_FR</vt:lpstr>
      <vt:lpstr>4_ORA_template_FR</vt:lpstr>
      <vt:lpstr>5_ORA_template_FR</vt:lpstr>
      <vt:lpstr>6_ORA_template_FR</vt:lpstr>
      <vt:lpstr>7_ORA_template_FR</vt:lpstr>
      <vt:lpstr>8_ORA_template_FR</vt:lpstr>
      <vt:lpstr>9_ORA_template_FR</vt:lpstr>
      <vt:lpstr>10_ORA_template_FR</vt:lpstr>
      <vt:lpstr>11_ORA_template_FR</vt:lpstr>
      <vt:lpstr>12_ORA_template_FR</vt:lpstr>
      <vt:lpstr>13_ORA_template_FR</vt:lpstr>
      <vt:lpstr>14_ORA_template_FR</vt:lpstr>
      <vt:lpstr>15_ORA_template_FR</vt:lpstr>
      <vt:lpstr>16_ORA_template_FR</vt:lpstr>
      <vt:lpstr>17_ORA_template_FR</vt:lpstr>
      <vt:lpstr>18_ORA_template_FR</vt:lpstr>
      <vt:lpstr>19_ORA_template_FR</vt:lpstr>
      <vt:lpstr>20_ORA_template_FR</vt:lpstr>
      <vt:lpstr>1_blank</vt:lpstr>
      <vt:lpstr>blank</vt:lpstr>
      <vt:lpstr>2_blank</vt:lpstr>
      <vt:lpstr>orange_presentationbasique</vt:lpstr>
      <vt:lpstr>3_blank</vt:lpstr>
      <vt:lpstr>4_blank</vt:lpstr>
      <vt:lpstr>17_orange_presentationbasique</vt:lpstr>
      <vt:lpstr>8_orange_presentationbasique</vt:lpstr>
      <vt:lpstr>ORA_template_confidential</vt:lpstr>
      <vt:lpstr>9_blank</vt:lpstr>
      <vt:lpstr>10_blank</vt:lpstr>
      <vt:lpstr>5_blank</vt:lpstr>
      <vt:lpstr>Diapositive think-cell</vt:lpstr>
      <vt:lpstr>Trends in Network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essons learned and trends in networks  </vt:lpstr>
      <vt:lpstr>Global solutions</vt:lpstr>
      <vt:lpstr>Présentation PowerPoint</vt:lpstr>
      <vt:lpstr>Présentation PowerPoint</vt:lpstr>
      <vt:lpstr>Présentation PowerPoint</vt:lpstr>
    </vt:vector>
  </TitlesOfParts>
  <Company>ORANGE FT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OPIN Patrice COMM/MARQ</dc:creator>
  <cp:lastModifiedBy>BELLEGO Yves TGI/OLN</cp:lastModifiedBy>
  <cp:revision>487</cp:revision>
  <cp:lastPrinted>2016-10-31T08:45:18Z</cp:lastPrinted>
  <dcterms:created xsi:type="dcterms:W3CDTF">2015-03-13T15:47:50Z</dcterms:created>
  <dcterms:modified xsi:type="dcterms:W3CDTF">2021-02-17T17:5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689F6A969AB449B11794B473A2EDAB</vt:lpwstr>
  </property>
</Properties>
</file>